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67" r:id="rId1"/>
  </p:sldMasterIdLst>
  <p:notesMasterIdLst>
    <p:notesMasterId r:id="rId14"/>
  </p:notesMasterIdLst>
  <p:handoutMasterIdLst>
    <p:handoutMasterId r:id="rId15"/>
  </p:handoutMasterIdLst>
  <p:sldIdLst>
    <p:sldId id="993" r:id="rId2"/>
    <p:sldId id="994" r:id="rId3"/>
    <p:sldId id="881" r:id="rId4"/>
    <p:sldId id="1040" r:id="rId5"/>
    <p:sldId id="782" r:id="rId6"/>
    <p:sldId id="780" r:id="rId7"/>
    <p:sldId id="929" r:id="rId8"/>
    <p:sldId id="1041" r:id="rId9"/>
    <p:sldId id="1042" r:id="rId10"/>
    <p:sldId id="1043" r:id="rId11"/>
    <p:sldId id="1044" r:id="rId12"/>
    <p:sldId id="1045" r:id="rId13"/>
  </p:sldIdLst>
  <p:sldSz cx="9144000" cy="6858000" type="screen4x3"/>
  <p:notesSz cx="6858000" cy="9296400"/>
  <p:custDataLst>
    <p:tags r:id="rId17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456">
          <p15:clr>
            <a:srgbClr val="A4A3A4"/>
          </p15:clr>
        </p15:guide>
        <p15:guide id="2" orient="horz" pos="172">
          <p15:clr>
            <a:srgbClr val="A4A3A4"/>
          </p15:clr>
        </p15:guide>
        <p15:guide id="3" orient="horz" pos="233">
          <p15:clr>
            <a:srgbClr val="A4A3A4"/>
          </p15:clr>
        </p15:guide>
        <p15:guide id="4" orient="horz" pos="786">
          <p15:clr>
            <a:srgbClr val="A4A3A4"/>
          </p15:clr>
        </p15:guide>
        <p15:guide id="5" orient="horz" pos="1010">
          <p15:clr>
            <a:srgbClr val="A4A3A4"/>
          </p15:clr>
        </p15:guide>
        <p15:guide id="6" orient="horz" pos="3895">
          <p15:clr>
            <a:srgbClr val="A4A3A4"/>
          </p15:clr>
        </p15:guide>
        <p15:guide id="7" orient="horz" pos="4203">
          <p15:clr>
            <a:srgbClr val="A4A3A4"/>
          </p15:clr>
        </p15:guide>
        <p15:guide id="8" orient="horz" pos="4071">
          <p15:clr>
            <a:srgbClr val="A4A3A4"/>
          </p15:clr>
        </p15:guide>
        <p15:guide id="9" pos="2880">
          <p15:clr>
            <a:srgbClr val="A4A3A4"/>
          </p15:clr>
        </p15:guide>
        <p15:guide id="10" pos="169">
          <p15:clr>
            <a:srgbClr val="A4A3A4"/>
          </p15:clr>
        </p15:guide>
        <p15:guide id="11" pos="1124">
          <p15:clr>
            <a:srgbClr val="A4A3A4"/>
          </p15:clr>
        </p15:guide>
        <p15:guide id="12" pos="2226">
          <p15:clr>
            <a:srgbClr val="A4A3A4"/>
          </p15:clr>
        </p15:guide>
        <p15:guide id="13" pos="5596">
          <p15:clr>
            <a:srgbClr val="A4A3A4"/>
          </p15:clr>
        </p15:guide>
        <p15:guide id="14" pos="487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28">
          <p15:clr>
            <a:srgbClr val="A4A3A4"/>
          </p15:clr>
        </p15:guide>
        <p15:guide id="2" pos="215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ul Zentner" initials="" lastIdx="2" clrIdx="0"/>
  <p:cmAuthor id="1" name="aishaa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B8D"/>
    <a:srgbClr val="F05033"/>
    <a:srgbClr val="1AB7EA"/>
    <a:srgbClr val="00B5CB"/>
    <a:srgbClr val="F18917"/>
    <a:srgbClr val="F3CF74"/>
    <a:srgbClr val="7DB935"/>
    <a:srgbClr val="AFE06E"/>
    <a:srgbClr val="DAF0A8"/>
    <a:srgbClr val="6969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24" autoAdjust="0"/>
    <p:restoredTop sz="88206" autoAdjust="0"/>
  </p:normalViewPr>
  <p:slideViewPr>
    <p:cSldViewPr snapToGrid="0" snapToObjects="1">
      <p:cViewPr varScale="1">
        <p:scale>
          <a:sx n="87" d="100"/>
          <a:sy n="87" d="100"/>
        </p:scale>
        <p:origin x="-1008" y="-104"/>
      </p:cViewPr>
      <p:guideLst>
        <p:guide orient="horz" pos="2456"/>
        <p:guide orient="horz" pos="172"/>
        <p:guide orient="horz" pos="233"/>
        <p:guide orient="horz" pos="786"/>
        <p:guide orient="horz" pos="1010"/>
        <p:guide orient="horz" pos="3895"/>
        <p:guide orient="horz" pos="4203"/>
        <p:guide orient="horz" pos="4071"/>
        <p:guide pos="2880"/>
        <p:guide pos="169"/>
        <p:guide pos="1124"/>
        <p:guide pos="2226"/>
        <p:guide pos="5596"/>
        <p:guide pos="4872"/>
      </p:guideLst>
    </p:cSldViewPr>
  </p:slideViewPr>
  <p:outlineViewPr>
    <p:cViewPr>
      <p:scale>
        <a:sx n="33" d="100"/>
        <a:sy n="33" d="100"/>
      </p:scale>
      <p:origin x="0" y="3530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0" d="100"/>
          <a:sy n="70" d="100"/>
        </p:scale>
        <p:origin x="-2166" y="-114"/>
      </p:cViewPr>
      <p:guideLst>
        <p:guide orient="horz" pos="2928"/>
        <p:guide pos="215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notesMaster" Target="notesMasters/notesMaster1.xml"/><Relationship Id="rId15" Type="http://schemas.openxmlformats.org/officeDocument/2006/relationships/handoutMaster" Target="handoutMasters/handoutMaster1.xml"/><Relationship Id="rId16" Type="http://schemas.openxmlformats.org/officeDocument/2006/relationships/printerSettings" Target="printerSettings/printerSettings1.bin"/><Relationship Id="rId17" Type="http://schemas.openxmlformats.org/officeDocument/2006/relationships/tags" Target="tags/tag1.xml"/><Relationship Id="rId18" Type="http://schemas.openxmlformats.org/officeDocument/2006/relationships/commentAuthors" Target="commentAuthors.xml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B0DA88D-83B0-6B44-80CD-DF748D68F8B3}" type="doc">
      <dgm:prSet loTypeId="urn:microsoft.com/office/officeart/2005/8/layout/cycle7" loCatId="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BF739E3-2A72-4741-9404-F68C4D8A051A}">
      <dgm:prSet phldrT="[Text]"/>
      <dgm:spPr/>
      <dgm:t>
        <a:bodyPr/>
        <a:lstStyle/>
        <a:p>
          <a:r>
            <a:rPr lang="en-US" dirty="0" smtClean="0"/>
            <a:t>Find questions for inquiry</a:t>
          </a:r>
          <a:endParaRPr lang="en-US" dirty="0"/>
        </a:p>
      </dgm:t>
    </dgm:pt>
    <dgm:pt modelId="{62D630D9-E9EE-EE4F-8051-9DFA3890AC8E}" type="parTrans" cxnId="{8F8469B0-B886-FB4C-AA44-B9263FF08347}">
      <dgm:prSet/>
      <dgm:spPr/>
      <dgm:t>
        <a:bodyPr/>
        <a:lstStyle/>
        <a:p>
          <a:endParaRPr lang="en-US"/>
        </a:p>
      </dgm:t>
    </dgm:pt>
    <dgm:pt modelId="{68EEB140-D831-D346-AF9C-3676464B9488}" type="sibTrans" cxnId="{8F8469B0-B886-FB4C-AA44-B9263FF08347}">
      <dgm:prSet/>
      <dgm:spPr/>
      <dgm:t>
        <a:bodyPr/>
        <a:lstStyle/>
        <a:p>
          <a:endParaRPr lang="en-US"/>
        </a:p>
      </dgm:t>
    </dgm:pt>
    <dgm:pt modelId="{C89A7AD7-E754-F943-B1A7-604245064330}">
      <dgm:prSet phldrT="[Text]"/>
      <dgm:spPr/>
      <dgm:t>
        <a:bodyPr/>
        <a:lstStyle/>
        <a:p>
          <a:r>
            <a:rPr lang="en-US" dirty="0" smtClean="0"/>
            <a:t>Gaining new perspectives</a:t>
          </a:r>
          <a:endParaRPr lang="en-US" dirty="0"/>
        </a:p>
      </dgm:t>
    </dgm:pt>
    <dgm:pt modelId="{2EC43FF0-0F2C-6049-94FC-6C6C338C1310}" type="parTrans" cxnId="{D7A971F0-2893-0543-95EA-01BAFEB766C4}">
      <dgm:prSet/>
      <dgm:spPr/>
      <dgm:t>
        <a:bodyPr/>
        <a:lstStyle/>
        <a:p>
          <a:endParaRPr lang="en-US"/>
        </a:p>
      </dgm:t>
    </dgm:pt>
    <dgm:pt modelId="{8C56E0B7-BE31-D64A-B1CF-93AC6F6619B4}" type="sibTrans" cxnId="{D7A971F0-2893-0543-95EA-01BAFEB766C4}">
      <dgm:prSet/>
      <dgm:spPr/>
      <dgm:t>
        <a:bodyPr/>
        <a:lstStyle/>
        <a:p>
          <a:endParaRPr lang="en-US"/>
        </a:p>
      </dgm:t>
    </dgm:pt>
    <dgm:pt modelId="{C178859C-AB49-A04E-AF8A-440F62B1D861}">
      <dgm:prSet phldrT="[Text]"/>
      <dgm:spPr/>
      <dgm:t>
        <a:bodyPr/>
        <a:lstStyle/>
        <a:p>
          <a:r>
            <a:rPr lang="en-US" dirty="0" smtClean="0"/>
            <a:t>Attending to differences</a:t>
          </a:r>
          <a:endParaRPr lang="en-US" dirty="0"/>
        </a:p>
      </dgm:t>
    </dgm:pt>
    <dgm:pt modelId="{5FD6E935-8B4A-6B4C-A751-EA4EB23CB55E}" type="parTrans" cxnId="{88D32C9E-375A-464F-92BF-0061972C2585}">
      <dgm:prSet/>
      <dgm:spPr/>
      <dgm:t>
        <a:bodyPr/>
        <a:lstStyle/>
        <a:p>
          <a:endParaRPr lang="en-US"/>
        </a:p>
      </dgm:t>
    </dgm:pt>
    <dgm:pt modelId="{FD819660-3B5D-AD43-B2D1-5485FF1721F7}" type="sibTrans" cxnId="{88D32C9E-375A-464F-92BF-0061972C2585}">
      <dgm:prSet/>
      <dgm:spPr/>
      <dgm:t>
        <a:bodyPr/>
        <a:lstStyle/>
        <a:p>
          <a:endParaRPr lang="en-US"/>
        </a:p>
      </dgm:t>
    </dgm:pt>
    <dgm:pt modelId="{AD07B7DB-39D3-554A-B46D-2C84EFBBDC40}">
      <dgm:prSet phldrT="[Text]"/>
      <dgm:spPr/>
      <dgm:t>
        <a:bodyPr/>
        <a:lstStyle/>
        <a:p>
          <a:r>
            <a:rPr lang="en-US" dirty="0" smtClean="0"/>
            <a:t>Sharing what was learned</a:t>
          </a:r>
          <a:endParaRPr lang="en-US" dirty="0"/>
        </a:p>
      </dgm:t>
    </dgm:pt>
    <dgm:pt modelId="{C90E9D71-9C4C-4B4F-A0E2-849710665404}" type="parTrans" cxnId="{7130CE62-6B50-6641-9A2B-8717145D2C10}">
      <dgm:prSet/>
      <dgm:spPr/>
      <dgm:t>
        <a:bodyPr/>
        <a:lstStyle/>
        <a:p>
          <a:endParaRPr lang="en-US"/>
        </a:p>
      </dgm:t>
    </dgm:pt>
    <dgm:pt modelId="{1B5BCDB5-1758-7E4C-9809-8340036E72FD}" type="sibTrans" cxnId="{7130CE62-6B50-6641-9A2B-8717145D2C10}">
      <dgm:prSet/>
      <dgm:spPr/>
      <dgm:t>
        <a:bodyPr/>
        <a:lstStyle/>
        <a:p>
          <a:endParaRPr lang="en-US"/>
        </a:p>
      </dgm:t>
    </dgm:pt>
    <dgm:pt modelId="{7451CA99-9FEB-A248-8DFD-692402CE553F}">
      <dgm:prSet phldrT="[Text]"/>
      <dgm:spPr/>
      <dgm:t>
        <a:bodyPr/>
        <a:lstStyle/>
        <a:p>
          <a:r>
            <a:rPr lang="en-US" dirty="0" smtClean="0"/>
            <a:t>Planning new inquiries </a:t>
          </a:r>
          <a:endParaRPr lang="en-US" dirty="0"/>
        </a:p>
      </dgm:t>
    </dgm:pt>
    <dgm:pt modelId="{AC770144-FE5A-0C4A-9797-B519E74E3E70}" type="parTrans" cxnId="{3C4580BC-29EA-3048-B496-68D43B17A7E9}">
      <dgm:prSet/>
      <dgm:spPr/>
      <dgm:t>
        <a:bodyPr/>
        <a:lstStyle/>
        <a:p>
          <a:endParaRPr lang="en-US"/>
        </a:p>
      </dgm:t>
    </dgm:pt>
    <dgm:pt modelId="{E6B4F9C0-0077-5F4A-BD71-E76A911B6C41}" type="sibTrans" cxnId="{3C4580BC-29EA-3048-B496-68D43B17A7E9}">
      <dgm:prSet/>
      <dgm:spPr/>
      <dgm:t>
        <a:bodyPr/>
        <a:lstStyle/>
        <a:p>
          <a:endParaRPr lang="en-US"/>
        </a:p>
      </dgm:t>
    </dgm:pt>
    <dgm:pt modelId="{2CB1D975-9EB3-9D4F-998A-9CD5FE2E1C7A}">
      <dgm:prSet phldrT="[Text]"/>
      <dgm:spPr/>
      <dgm:t>
        <a:bodyPr/>
        <a:lstStyle/>
        <a:p>
          <a:r>
            <a:rPr lang="en-US" dirty="0" smtClean="0"/>
            <a:t>Taking</a:t>
          </a:r>
          <a:r>
            <a:rPr lang="en-US" baseline="0" dirty="0" smtClean="0"/>
            <a:t> thoughtful action</a:t>
          </a:r>
          <a:endParaRPr lang="en-US" dirty="0"/>
        </a:p>
      </dgm:t>
    </dgm:pt>
    <dgm:pt modelId="{0A6D3983-FAD7-2D44-91F6-BB13511DEA9B}" type="parTrans" cxnId="{AE17B63B-1D61-F740-A402-E697A50083A0}">
      <dgm:prSet/>
      <dgm:spPr/>
      <dgm:t>
        <a:bodyPr/>
        <a:lstStyle/>
        <a:p>
          <a:endParaRPr lang="en-US"/>
        </a:p>
      </dgm:t>
    </dgm:pt>
    <dgm:pt modelId="{2411EC57-81EF-B640-9096-E26CD084604A}" type="sibTrans" cxnId="{AE17B63B-1D61-F740-A402-E697A50083A0}">
      <dgm:prSet/>
      <dgm:spPr/>
      <dgm:t>
        <a:bodyPr/>
        <a:lstStyle/>
        <a:p>
          <a:endParaRPr lang="en-US"/>
        </a:p>
      </dgm:t>
    </dgm:pt>
    <dgm:pt modelId="{EBAAFE55-DBA2-D740-A582-FEAE8D1A45A4}" type="pres">
      <dgm:prSet presAssocID="{6B0DA88D-83B0-6B44-80CD-DF748D68F8B3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6A2834D-C2F8-8C48-8A27-9E23D504FD05}" type="pres">
      <dgm:prSet presAssocID="{FBF739E3-2A72-4741-9404-F68C4D8A051A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B913EA-0254-0040-B735-25D2556D09AC}" type="pres">
      <dgm:prSet presAssocID="{68EEB140-D831-D346-AF9C-3676464B9488}" presName="sibTrans" presStyleLbl="sibTrans2D1" presStyleIdx="0" presStyleCnt="6"/>
      <dgm:spPr/>
      <dgm:t>
        <a:bodyPr/>
        <a:lstStyle/>
        <a:p>
          <a:endParaRPr lang="en-US"/>
        </a:p>
      </dgm:t>
    </dgm:pt>
    <dgm:pt modelId="{8A8C03E7-6C73-0C43-AD27-1CFC30442029}" type="pres">
      <dgm:prSet presAssocID="{68EEB140-D831-D346-AF9C-3676464B9488}" presName="connectorText" presStyleLbl="sibTrans2D1" presStyleIdx="0" presStyleCnt="6"/>
      <dgm:spPr/>
      <dgm:t>
        <a:bodyPr/>
        <a:lstStyle/>
        <a:p>
          <a:endParaRPr lang="en-US"/>
        </a:p>
      </dgm:t>
    </dgm:pt>
    <dgm:pt modelId="{92E825E3-C567-3A4C-A346-EDE5614AACEA}" type="pres">
      <dgm:prSet presAssocID="{C89A7AD7-E754-F943-B1A7-604245064330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44F37B5-75D2-F348-B8E2-BBC0071BB8AF}" type="pres">
      <dgm:prSet presAssocID="{8C56E0B7-BE31-D64A-B1CF-93AC6F6619B4}" presName="sibTrans" presStyleLbl="sibTrans2D1" presStyleIdx="1" presStyleCnt="6"/>
      <dgm:spPr/>
      <dgm:t>
        <a:bodyPr/>
        <a:lstStyle/>
        <a:p>
          <a:endParaRPr lang="en-US"/>
        </a:p>
      </dgm:t>
    </dgm:pt>
    <dgm:pt modelId="{EB879CF6-D4FB-314A-A7A3-488EE6B4F364}" type="pres">
      <dgm:prSet presAssocID="{8C56E0B7-BE31-D64A-B1CF-93AC6F6619B4}" presName="connectorText" presStyleLbl="sibTrans2D1" presStyleIdx="1" presStyleCnt="6"/>
      <dgm:spPr/>
      <dgm:t>
        <a:bodyPr/>
        <a:lstStyle/>
        <a:p>
          <a:endParaRPr lang="en-US"/>
        </a:p>
      </dgm:t>
    </dgm:pt>
    <dgm:pt modelId="{99B1CC72-3A3E-9D40-A7FC-FAC073B6EB3A}" type="pres">
      <dgm:prSet presAssocID="{C178859C-AB49-A04E-AF8A-440F62B1D861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0D630B9-826C-CD4F-AA5A-0492C16C194B}" type="pres">
      <dgm:prSet presAssocID="{FD819660-3B5D-AD43-B2D1-5485FF1721F7}" presName="sibTrans" presStyleLbl="sibTrans2D1" presStyleIdx="2" presStyleCnt="6"/>
      <dgm:spPr/>
      <dgm:t>
        <a:bodyPr/>
        <a:lstStyle/>
        <a:p>
          <a:endParaRPr lang="en-US"/>
        </a:p>
      </dgm:t>
    </dgm:pt>
    <dgm:pt modelId="{A7090BC2-4434-904B-843F-D6335F30E02C}" type="pres">
      <dgm:prSet presAssocID="{FD819660-3B5D-AD43-B2D1-5485FF1721F7}" presName="connectorText" presStyleLbl="sibTrans2D1" presStyleIdx="2" presStyleCnt="6"/>
      <dgm:spPr/>
      <dgm:t>
        <a:bodyPr/>
        <a:lstStyle/>
        <a:p>
          <a:endParaRPr lang="en-US"/>
        </a:p>
      </dgm:t>
    </dgm:pt>
    <dgm:pt modelId="{3DD07FDF-C6BD-4A4D-A8AD-D1C96DF48930}" type="pres">
      <dgm:prSet presAssocID="{AD07B7DB-39D3-554A-B46D-2C84EFBBDC40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04585F3-AB50-014F-A544-78D8F5C941CA}" type="pres">
      <dgm:prSet presAssocID="{1B5BCDB5-1758-7E4C-9809-8340036E72FD}" presName="sibTrans" presStyleLbl="sibTrans2D1" presStyleIdx="3" presStyleCnt="6"/>
      <dgm:spPr/>
      <dgm:t>
        <a:bodyPr/>
        <a:lstStyle/>
        <a:p>
          <a:endParaRPr lang="en-US"/>
        </a:p>
      </dgm:t>
    </dgm:pt>
    <dgm:pt modelId="{90ABF472-C4D2-7E44-8E2D-957C5A438241}" type="pres">
      <dgm:prSet presAssocID="{1B5BCDB5-1758-7E4C-9809-8340036E72FD}" presName="connectorText" presStyleLbl="sibTrans2D1" presStyleIdx="3" presStyleCnt="6"/>
      <dgm:spPr/>
      <dgm:t>
        <a:bodyPr/>
        <a:lstStyle/>
        <a:p>
          <a:endParaRPr lang="en-US"/>
        </a:p>
      </dgm:t>
    </dgm:pt>
    <dgm:pt modelId="{6180B159-2DB9-7246-9388-89F200392B87}" type="pres">
      <dgm:prSet presAssocID="{7451CA99-9FEB-A248-8DFD-692402CE553F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AC53E7-580F-4642-969D-FFD891F91A13}" type="pres">
      <dgm:prSet presAssocID="{E6B4F9C0-0077-5F4A-BD71-E76A911B6C41}" presName="sibTrans" presStyleLbl="sibTrans2D1" presStyleIdx="4" presStyleCnt="6"/>
      <dgm:spPr/>
      <dgm:t>
        <a:bodyPr/>
        <a:lstStyle/>
        <a:p>
          <a:endParaRPr lang="en-US"/>
        </a:p>
      </dgm:t>
    </dgm:pt>
    <dgm:pt modelId="{1C551FF9-36D6-0349-8F1E-3589D0E0DA48}" type="pres">
      <dgm:prSet presAssocID="{E6B4F9C0-0077-5F4A-BD71-E76A911B6C41}" presName="connectorText" presStyleLbl="sibTrans2D1" presStyleIdx="4" presStyleCnt="6"/>
      <dgm:spPr/>
      <dgm:t>
        <a:bodyPr/>
        <a:lstStyle/>
        <a:p>
          <a:endParaRPr lang="en-US"/>
        </a:p>
      </dgm:t>
    </dgm:pt>
    <dgm:pt modelId="{66DD1878-F04F-8740-9CC6-C610F57EB33B}" type="pres">
      <dgm:prSet presAssocID="{2CB1D975-9EB3-9D4F-998A-9CD5FE2E1C7A}" presName="node" presStyleLbl="node1" presStyleIdx="5" presStyleCnt="6" custRadScaleRad="97704" custRadScaleInc="260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15E9E0-9E6D-8840-AC2D-9D2688FD2197}" type="pres">
      <dgm:prSet presAssocID="{2411EC57-81EF-B640-9096-E26CD084604A}" presName="sibTrans" presStyleLbl="sibTrans2D1" presStyleIdx="5" presStyleCnt="6"/>
      <dgm:spPr/>
      <dgm:t>
        <a:bodyPr/>
        <a:lstStyle/>
        <a:p>
          <a:endParaRPr lang="en-US"/>
        </a:p>
      </dgm:t>
    </dgm:pt>
    <dgm:pt modelId="{DD1F5295-2FF6-CC4D-8CFE-4EEB770C57AC}" type="pres">
      <dgm:prSet presAssocID="{2411EC57-81EF-B640-9096-E26CD084604A}" presName="connectorText" presStyleLbl="sibTrans2D1" presStyleIdx="5" presStyleCnt="6"/>
      <dgm:spPr/>
      <dgm:t>
        <a:bodyPr/>
        <a:lstStyle/>
        <a:p>
          <a:endParaRPr lang="en-US"/>
        </a:p>
      </dgm:t>
    </dgm:pt>
  </dgm:ptLst>
  <dgm:cxnLst>
    <dgm:cxn modelId="{3E996F7D-ECCF-6046-AD47-916FD74BE536}" type="presOf" srcId="{C178859C-AB49-A04E-AF8A-440F62B1D861}" destId="{99B1CC72-3A3E-9D40-A7FC-FAC073B6EB3A}" srcOrd="0" destOrd="0" presId="urn:microsoft.com/office/officeart/2005/8/layout/cycle7"/>
    <dgm:cxn modelId="{3C4580BC-29EA-3048-B496-68D43B17A7E9}" srcId="{6B0DA88D-83B0-6B44-80CD-DF748D68F8B3}" destId="{7451CA99-9FEB-A248-8DFD-692402CE553F}" srcOrd="4" destOrd="0" parTransId="{AC770144-FE5A-0C4A-9797-B519E74E3E70}" sibTransId="{E6B4F9C0-0077-5F4A-BD71-E76A911B6C41}"/>
    <dgm:cxn modelId="{A277AE61-A97F-2447-9213-8CD994A5A81C}" type="presOf" srcId="{7451CA99-9FEB-A248-8DFD-692402CE553F}" destId="{6180B159-2DB9-7246-9388-89F200392B87}" srcOrd="0" destOrd="0" presId="urn:microsoft.com/office/officeart/2005/8/layout/cycle7"/>
    <dgm:cxn modelId="{AE17B63B-1D61-F740-A402-E697A50083A0}" srcId="{6B0DA88D-83B0-6B44-80CD-DF748D68F8B3}" destId="{2CB1D975-9EB3-9D4F-998A-9CD5FE2E1C7A}" srcOrd="5" destOrd="0" parTransId="{0A6D3983-FAD7-2D44-91F6-BB13511DEA9B}" sibTransId="{2411EC57-81EF-B640-9096-E26CD084604A}"/>
    <dgm:cxn modelId="{2B9C6298-44FF-3C4C-B603-3DA63276D0DF}" type="presOf" srcId="{2CB1D975-9EB3-9D4F-998A-9CD5FE2E1C7A}" destId="{66DD1878-F04F-8740-9CC6-C610F57EB33B}" srcOrd="0" destOrd="0" presId="urn:microsoft.com/office/officeart/2005/8/layout/cycle7"/>
    <dgm:cxn modelId="{794E7D63-9471-E948-A9A2-4CEE343864F4}" type="presOf" srcId="{1B5BCDB5-1758-7E4C-9809-8340036E72FD}" destId="{B04585F3-AB50-014F-A544-78D8F5C941CA}" srcOrd="0" destOrd="0" presId="urn:microsoft.com/office/officeart/2005/8/layout/cycle7"/>
    <dgm:cxn modelId="{1420021A-7613-184B-A013-C951E6895D7A}" type="presOf" srcId="{FBF739E3-2A72-4741-9404-F68C4D8A051A}" destId="{86A2834D-C2F8-8C48-8A27-9E23D504FD05}" srcOrd="0" destOrd="0" presId="urn:microsoft.com/office/officeart/2005/8/layout/cycle7"/>
    <dgm:cxn modelId="{8B96D828-2F21-E349-839A-B48F46B31837}" type="presOf" srcId="{E6B4F9C0-0077-5F4A-BD71-E76A911B6C41}" destId="{8AAC53E7-580F-4642-969D-FFD891F91A13}" srcOrd="0" destOrd="0" presId="urn:microsoft.com/office/officeart/2005/8/layout/cycle7"/>
    <dgm:cxn modelId="{6BF70B7E-A90F-3F4B-9093-DDEDD31C2EEC}" type="presOf" srcId="{AD07B7DB-39D3-554A-B46D-2C84EFBBDC40}" destId="{3DD07FDF-C6BD-4A4D-A8AD-D1C96DF48930}" srcOrd="0" destOrd="0" presId="urn:microsoft.com/office/officeart/2005/8/layout/cycle7"/>
    <dgm:cxn modelId="{C789813C-E8FA-C54E-A65C-F67A384E5065}" type="presOf" srcId="{C89A7AD7-E754-F943-B1A7-604245064330}" destId="{92E825E3-C567-3A4C-A346-EDE5614AACEA}" srcOrd="0" destOrd="0" presId="urn:microsoft.com/office/officeart/2005/8/layout/cycle7"/>
    <dgm:cxn modelId="{5C319540-8560-0B49-9202-4508CAED4FDC}" type="presOf" srcId="{2411EC57-81EF-B640-9096-E26CD084604A}" destId="{DD1F5295-2FF6-CC4D-8CFE-4EEB770C57AC}" srcOrd="1" destOrd="0" presId="urn:microsoft.com/office/officeart/2005/8/layout/cycle7"/>
    <dgm:cxn modelId="{ED60B171-59FC-6E45-AD60-4D66A3C94351}" type="presOf" srcId="{FD819660-3B5D-AD43-B2D1-5485FF1721F7}" destId="{A7090BC2-4434-904B-843F-D6335F30E02C}" srcOrd="1" destOrd="0" presId="urn:microsoft.com/office/officeart/2005/8/layout/cycle7"/>
    <dgm:cxn modelId="{52665ABC-815B-9D41-9904-24AC475237C2}" type="presOf" srcId="{8C56E0B7-BE31-D64A-B1CF-93AC6F6619B4}" destId="{EB879CF6-D4FB-314A-A7A3-488EE6B4F364}" srcOrd="1" destOrd="0" presId="urn:microsoft.com/office/officeart/2005/8/layout/cycle7"/>
    <dgm:cxn modelId="{8F8469B0-B886-FB4C-AA44-B9263FF08347}" srcId="{6B0DA88D-83B0-6B44-80CD-DF748D68F8B3}" destId="{FBF739E3-2A72-4741-9404-F68C4D8A051A}" srcOrd="0" destOrd="0" parTransId="{62D630D9-E9EE-EE4F-8051-9DFA3890AC8E}" sibTransId="{68EEB140-D831-D346-AF9C-3676464B9488}"/>
    <dgm:cxn modelId="{7130CE62-6B50-6641-9A2B-8717145D2C10}" srcId="{6B0DA88D-83B0-6B44-80CD-DF748D68F8B3}" destId="{AD07B7DB-39D3-554A-B46D-2C84EFBBDC40}" srcOrd="3" destOrd="0" parTransId="{C90E9D71-9C4C-4B4F-A0E2-849710665404}" sibTransId="{1B5BCDB5-1758-7E4C-9809-8340036E72FD}"/>
    <dgm:cxn modelId="{06FC428F-7C1D-C444-9323-C8EA9BCEA303}" type="presOf" srcId="{2411EC57-81EF-B640-9096-E26CD084604A}" destId="{0315E9E0-9E6D-8840-AC2D-9D2688FD2197}" srcOrd="0" destOrd="0" presId="urn:microsoft.com/office/officeart/2005/8/layout/cycle7"/>
    <dgm:cxn modelId="{C5EDF366-52F1-6F4A-9CB3-9F824937C004}" type="presOf" srcId="{68EEB140-D831-D346-AF9C-3676464B9488}" destId="{8A8C03E7-6C73-0C43-AD27-1CFC30442029}" srcOrd="1" destOrd="0" presId="urn:microsoft.com/office/officeart/2005/8/layout/cycle7"/>
    <dgm:cxn modelId="{D7A971F0-2893-0543-95EA-01BAFEB766C4}" srcId="{6B0DA88D-83B0-6B44-80CD-DF748D68F8B3}" destId="{C89A7AD7-E754-F943-B1A7-604245064330}" srcOrd="1" destOrd="0" parTransId="{2EC43FF0-0F2C-6049-94FC-6C6C338C1310}" sibTransId="{8C56E0B7-BE31-D64A-B1CF-93AC6F6619B4}"/>
    <dgm:cxn modelId="{8E2AFED5-A6F4-A74E-845D-FD3E9E854C7F}" type="presOf" srcId="{FD819660-3B5D-AD43-B2D1-5485FF1721F7}" destId="{50D630B9-826C-CD4F-AA5A-0492C16C194B}" srcOrd="0" destOrd="0" presId="urn:microsoft.com/office/officeart/2005/8/layout/cycle7"/>
    <dgm:cxn modelId="{8F680B7D-FBE5-894D-8DED-9630BB78EE16}" type="presOf" srcId="{E6B4F9C0-0077-5F4A-BD71-E76A911B6C41}" destId="{1C551FF9-36D6-0349-8F1E-3589D0E0DA48}" srcOrd="1" destOrd="0" presId="urn:microsoft.com/office/officeart/2005/8/layout/cycle7"/>
    <dgm:cxn modelId="{C228573C-FF06-CC47-A41D-619DEE35CF1B}" type="presOf" srcId="{68EEB140-D831-D346-AF9C-3676464B9488}" destId="{B7B913EA-0254-0040-B735-25D2556D09AC}" srcOrd="0" destOrd="0" presId="urn:microsoft.com/office/officeart/2005/8/layout/cycle7"/>
    <dgm:cxn modelId="{1276A3EB-E81E-154D-8E31-B4CA08D1B1AC}" type="presOf" srcId="{1B5BCDB5-1758-7E4C-9809-8340036E72FD}" destId="{90ABF472-C4D2-7E44-8E2D-957C5A438241}" srcOrd="1" destOrd="0" presId="urn:microsoft.com/office/officeart/2005/8/layout/cycle7"/>
    <dgm:cxn modelId="{7452AFB8-7AE7-764B-ADEF-25FB220EB505}" type="presOf" srcId="{8C56E0B7-BE31-D64A-B1CF-93AC6F6619B4}" destId="{944F37B5-75D2-F348-B8E2-BBC0071BB8AF}" srcOrd="0" destOrd="0" presId="urn:microsoft.com/office/officeart/2005/8/layout/cycle7"/>
    <dgm:cxn modelId="{6C50DCD8-AE86-9D44-BF0D-3F593DD99072}" type="presOf" srcId="{6B0DA88D-83B0-6B44-80CD-DF748D68F8B3}" destId="{EBAAFE55-DBA2-D740-A582-FEAE8D1A45A4}" srcOrd="0" destOrd="0" presId="urn:microsoft.com/office/officeart/2005/8/layout/cycle7"/>
    <dgm:cxn modelId="{88D32C9E-375A-464F-92BF-0061972C2585}" srcId="{6B0DA88D-83B0-6B44-80CD-DF748D68F8B3}" destId="{C178859C-AB49-A04E-AF8A-440F62B1D861}" srcOrd="2" destOrd="0" parTransId="{5FD6E935-8B4A-6B4C-A751-EA4EB23CB55E}" sibTransId="{FD819660-3B5D-AD43-B2D1-5485FF1721F7}"/>
    <dgm:cxn modelId="{13A51132-D06F-0E4E-8AE1-58219C572E7F}" type="presParOf" srcId="{EBAAFE55-DBA2-D740-A582-FEAE8D1A45A4}" destId="{86A2834D-C2F8-8C48-8A27-9E23D504FD05}" srcOrd="0" destOrd="0" presId="urn:microsoft.com/office/officeart/2005/8/layout/cycle7"/>
    <dgm:cxn modelId="{A9D44595-35FA-CB47-A77B-F1673B026998}" type="presParOf" srcId="{EBAAFE55-DBA2-D740-A582-FEAE8D1A45A4}" destId="{B7B913EA-0254-0040-B735-25D2556D09AC}" srcOrd="1" destOrd="0" presId="urn:microsoft.com/office/officeart/2005/8/layout/cycle7"/>
    <dgm:cxn modelId="{0BE99238-55F8-504D-ACA9-EAC273DE5A8C}" type="presParOf" srcId="{B7B913EA-0254-0040-B735-25D2556D09AC}" destId="{8A8C03E7-6C73-0C43-AD27-1CFC30442029}" srcOrd="0" destOrd="0" presId="urn:microsoft.com/office/officeart/2005/8/layout/cycle7"/>
    <dgm:cxn modelId="{A8F0B07B-1733-0E47-BADF-F10F9D4FEB81}" type="presParOf" srcId="{EBAAFE55-DBA2-D740-A582-FEAE8D1A45A4}" destId="{92E825E3-C567-3A4C-A346-EDE5614AACEA}" srcOrd="2" destOrd="0" presId="urn:microsoft.com/office/officeart/2005/8/layout/cycle7"/>
    <dgm:cxn modelId="{8ADB824A-C5C2-0A45-A3D3-2F46369DEFB8}" type="presParOf" srcId="{EBAAFE55-DBA2-D740-A582-FEAE8D1A45A4}" destId="{944F37B5-75D2-F348-B8E2-BBC0071BB8AF}" srcOrd="3" destOrd="0" presId="urn:microsoft.com/office/officeart/2005/8/layout/cycle7"/>
    <dgm:cxn modelId="{619D1F0D-FDCB-0B43-879A-43E0BF0226F3}" type="presParOf" srcId="{944F37B5-75D2-F348-B8E2-BBC0071BB8AF}" destId="{EB879CF6-D4FB-314A-A7A3-488EE6B4F364}" srcOrd="0" destOrd="0" presId="urn:microsoft.com/office/officeart/2005/8/layout/cycle7"/>
    <dgm:cxn modelId="{F607ADC7-A613-F841-8F65-8385E7D926C0}" type="presParOf" srcId="{EBAAFE55-DBA2-D740-A582-FEAE8D1A45A4}" destId="{99B1CC72-3A3E-9D40-A7FC-FAC073B6EB3A}" srcOrd="4" destOrd="0" presId="urn:microsoft.com/office/officeart/2005/8/layout/cycle7"/>
    <dgm:cxn modelId="{18725ABA-BE50-A24F-BFE3-7D2A508D3049}" type="presParOf" srcId="{EBAAFE55-DBA2-D740-A582-FEAE8D1A45A4}" destId="{50D630B9-826C-CD4F-AA5A-0492C16C194B}" srcOrd="5" destOrd="0" presId="urn:microsoft.com/office/officeart/2005/8/layout/cycle7"/>
    <dgm:cxn modelId="{827C5F67-C428-1046-8D85-F4BE3713B5E6}" type="presParOf" srcId="{50D630B9-826C-CD4F-AA5A-0492C16C194B}" destId="{A7090BC2-4434-904B-843F-D6335F30E02C}" srcOrd="0" destOrd="0" presId="urn:microsoft.com/office/officeart/2005/8/layout/cycle7"/>
    <dgm:cxn modelId="{C81B7FC8-4280-BF4E-8B11-E05198E7836C}" type="presParOf" srcId="{EBAAFE55-DBA2-D740-A582-FEAE8D1A45A4}" destId="{3DD07FDF-C6BD-4A4D-A8AD-D1C96DF48930}" srcOrd="6" destOrd="0" presId="urn:microsoft.com/office/officeart/2005/8/layout/cycle7"/>
    <dgm:cxn modelId="{DAD83E7B-858E-EB47-A160-19F1ABC65BA8}" type="presParOf" srcId="{EBAAFE55-DBA2-D740-A582-FEAE8D1A45A4}" destId="{B04585F3-AB50-014F-A544-78D8F5C941CA}" srcOrd="7" destOrd="0" presId="urn:microsoft.com/office/officeart/2005/8/layout/cycle7"/>
    <dgm:cxn modelId="{AD3C23A9-6F80-4D4C-A067-76ECFABBE87C}" type="presParOf" srcId="{B04585F3-AB50-014F-A544-78D8F5C941CA}" destId="{90ABF472-C4D2-7E44-8E2D-957C5A438241}" srcOrd="0" destOrd="0" presId="urn:microsoft.com/office/officeart/2005/8/layout/cycle7"/>
    <dgm:cxn modelId="{5DA3D266-A40C-2F40-83DC-CF991833D698}" type="presParOf" srcId="{EBAAFE55-DBA2-D740-A582-FEAE8D1A45A4}" destId="{6180B159-2DB9-7246-9388-89F200392B87}" srcOrd="8" destOrd="0" presId="urn:microsoft.com/office/officeart/2005/8/layout/cycle7"/>
    <dgm:cxn modelId="{E0CC458D-1C6F-5E48-8D31-FA05F680FD46}" type="presParOf" srcId="{EBAAFE55-DBA2-D740-A582-FEAE8D1A45A4}" destId="{8AAC53E7-580F-4642-969D-FFD891F91A13}" srcOrd="9" destOrd="0" presId="urn:microsoft.com/office/officeart/2005/8/layout/cycle7"/>
    <dgm:cxn modelId="{9152A996-FB55-6047-8FCC-057AC26849E6}" type="presParOf" srcId="{8AAC53E7-580F-4642-969D-FFD891F91A13}" destId="{1C551FF9-36D6-0349-8F1E-3589D0E0DA48}" srcOrd="0" destOrd="0" presId="urn:microsoft.com/office/officeart/2005/8/layout/cycle7"/>
    <dgm:cxn modelId="{C2470EC8-593E-4642-87F4-D693D9C4440A}" type="presParOf" srcId="{EBAAFE55-DBA2-D740-A582-FEAE8D1A45A4}" destId="{66DD1878-F04F-8740-9CC6-C610F57EB33B}" srcOrd="10" destOrd="0" presId="urn:microsoft.com/office/officeart/2005/8/layout/cycle7"/>
    <dgm:cxn modelId="{F269687B-51AC-D74B-A3F8-9BED83AAE8FD}" type="presParOf" srcId="{EBAAFE55-DBA2-D740-A582-FEAE8D1A45A4}" destId="{0315E9E0-9E6D-8840-AC2D-9D2688FD2197}" srcOrd="11" destOrd="0" presId="urn:microsoft.com/office/officeart/2005/8/layout/cycle7"/>
    <dgm:cxn modelId="{98447450-1819-184A-958E-02B5D62F2B33}" type="presParOf" srcId="{0315E9E0-9E6D-8840-AC2D-9D2688FD2197}" destId="{DD1F5295-2FF6-CC4D-8CFE-4EEB770C57AC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A2834D-C2F8-8C48-8A27-9E23D504FD05}">
      <dsp:nvSpPr>
        <dsp:cNvPr id="0" name=""/>
        <dsp:cNvSpPr/>
      </dsp:nvSpPr>
      <dsp:spPr>
        <a:xfrm>
          <a:off x="1855590" y="1627"/>
          <a:ext cx="1057011" cy="52850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Find questions for inquiry</a:t>
          </a:r>
          <a:endParaRPr lang="en-US" sz="1000" kern="1200" dirty="0"/>
        </a:p>
      </dsp:txBody>
      <dsp:txXfrm>
        <a:off x="1871069" y="17106"/>
        <a:ext cx="1026053" cy="497547"/>
      </dsp:txXfrm>
    </dsp:sp>
    <dsp:sp modelId="{B7B913EA-0254-0040-B735-25D2556D09AC}">
      <dsp:nvSpPr>
        <dsp:cNvPr id="0" name=""/>
        <dsp:cNvSpPr/>
      </dsp:nvSpPr>
      <dsp:spPr>
        <a:xfrm rot="1800000">
          <a:off x="2870916" y="610188"/>
          <a:ext cx="539468" cy="184976"/>
        </a:xfrm>
        <a:prstGeom prst="left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>
        <a:off x="2926409" y="647183"/>
        <a:ext cx="428482" cy="110986"/>
      </dsp:txXfrm>
    </dsp:sp>
    <dsp:sp modelId="{92E825E3-C567-3A4C-A346-EDE5614AACEA}">
      <dsp:nvSpPr>
        <dsp:cNvPr id="0" name=""/>
        <dsp:cNvSpPr/>
      </dsp:nvSpPr>
      <dsp:spPr>
        <a:xfrm>
          <a:off x="3368699" y="875221"/>
          <a:ext cx="1057011" cy="52850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Gaining new perspectives</a:t>
          </a:r>
          <a:endParaRPr lang="en-US" sz="1000" kern="1200" dirty="0"/>
        </a:p>
      </dsp:txBody>
      <dsp:txXfrm>
        <a:off x="3384178" y="890700"/>
        <a:ext cx="1026053" cy="497547"/>
      </dsp:txXfrm>
    </dsp:sp>
    <dsp:sp modelId="{944F37B5-75D2-F348-B8E2-BBC0071BB8AF}">
      <dsp:nvSpPr>
        <dsp:cNvPr id="0" name=""/>
        <dsp:cNvSpPr/>
      </dsp:nvSpPr>
      <dsp:spPr>
        <a:xfrm rot="5400000">
          <a:off x="3627470" y="1920579"/>
          <a:ext cx="539468" cy="184976"/>
        </a:xfrm>
        <a:prstGeom prst="left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>
        <a:off x="3682963" y="1957574"/>
        <a:ext cx="428482" cy="110986"/>
      </dsp:txXfrm>
    </dsp:sp>
    <dsp:sp modelId="{99B1CC72-3A3E-9D40-A7FC-FAC073B6EB3A}">
      <dsp:nvSpPr>
        <dsp:cNvPr id="0" name=""/>
        <dsp:cNvSpPr/>
      </dsp:nvSpPr>
      <dsp:spPr>
        <a:xfrm>
          <a:off x="3368699" y="2622408"/>
          <a:ext cx="1057011" cy="52850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Attending to differences</a:t>
          </a:r>
          <a:endParaRPr lang="en-US" sz="1000" kern="1200" dirty="0"/>
        </a:p>
      </dsp:txBody>
      <dsp:txXfrm>
        <a:off x="3384178" y="2637887"/>
        <a:ext cx="1026053" cy="497547"/>
      </dsp:txXfrm>
    </dsp:sp>
    <dsp:sp modelId="{50D630B9-826C-CD4F-AA5A-0492C16C194B}">
      <dsp:nvSpPr>
        <dsp:cNvPr id="0" name=""/>
        <dsp:cNvSpPr/>
      </dsp:nvSpPr>
      <dsp:spPr>
        <a:xfrm rot="9000000">
          <a:off x="2870916" y="3230970"/>
          <a:ext cx="539468" cy="184976"/>
        </a:xfrm>
        <a:prstGeom prst="left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 rot="10800000">
        <a:off x="2926409" y="3267965"/>
        <a:ext cx="428482" cy="110986"/>
      </dsp:txXfrm>
    </dsp:sp>
    <dsp:sp modelId="{3DD07FDF-C6BD-4A4D-A8AD-D1C96DF48930}">
      <dsp:nvSpPr>
        <dsp:cNvPr id="0" name=""/>
        <dsp:cNvSpPr/>
      </dsp:nvSpPr>
      <dsp:spPr>
        <a:xfrm>
          <a:off x="1855590" y="3496002"/>
          <a:ext cx="1057011" cy="52850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Sharing what was learned</a:t>
          </a:r>
          <a:endParaRPr lang="en-US" sz="1000" kern="1200" dirty="0"/>
        </a:p>
      </dsp:txBody>
      <dsp:txXfrm>
        <a:off x="1871069" y="3511481"/>
        <a:ext cx="1026053" cy="497547"/>
      </dsp:txXfrm>
    </dsp:sp>
    <dsp:sp modelId="{B04585F3-AB50-014F-A544-78D8F5C941CA}">
      <dsp:nvSpPr>
        <dsp:cNvPr id="0" name=""/>
        <dsp:cNvSpPr/>
      </dsp:nvSpPr>
      <dsp:spPr>
        <a:xfrm rot="12600000">
          <a:off x="1357807" y="3230970"/>
          <a:ext cx="539468" cy="184976"/>
        </a:xfrm>
        <a:prstGeom prst="left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 rot="10800000">
        <a:off x="1413300" y="3267965"/>
        <a:ext cx="428482" cy="110986"/>
      </dsp:txXfrm>
    </dsp:sp>
    <dsp:sp modelId="{6180B159-2DB9-7246-9388-89F200392B87}">
      <dsp:nvSpPr>
        <dsp:cNvPr id="0" name=""/>
        <dsp:cNvSpPr/>
      </dsp:nvSpPr>
      <dsp:spPr>
        <a:xfrm>
          <a:off x="342481" y="2622408"/>
          <a:ext cx="1057011" cy="52850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Planning new inquiries </a:t>
          </a:r>
          <a:endParaRPr lang="en-US" sz="1000" kern="1200" dirty="0"/>
        </a:p>
      </dsp:txBody>
      <dsp:txXfrm>
        <a:off x="357960" y="2637887"/>
        <a:ext cx="1026053" cy="497547"/>
      </dsp:txXfrm>
    </dsp:sp>
    <dsp:sp modelId="{8AAC53E7-580F-4642-969D-FFD891F91A13}">
      <dsp:nvSpPr>
        <dsp:cNvPr id="0" name=""/>
        <dsp:cNvSpPr/>
      </dsp:nvSpPr>
      <dsp:spPr>
        <a:xfrm rot="16291475">
          <a:off x="624503" y="1920581"/>
          <a:ext cx="539468" cy="184976"/>
        </a:xfrm>
        <a:prstGeom prst="left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>
        <a:off x="679996" y="1957576"/>
        <a:ext cx="428482" cy="110986"/>
      </dsp:txXfrm>
    </dsp:sp>
    <dsp:sp modelId="{66DD1878-F04F-8740-9CC6-C610F57EB33B}">
      <dsp:nvSpPr>
        <dsp:cNvPr id="0" name=""/>
        <dsp:cNvSpPr/>
      </dsp:nvSpPr>
      <dsp:spPr>
        <a:xfrm>
          <a:off x="388983" y="875225"/>
          <a:ext cx="1057011" cy="52850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Taking</a:t>
          </a:r>
          <a:r>
            <a:rPr lang="en-US" sz="1000" kern="1200" baseline="0" dirty="0" smtClean="0"/>
            <a:t> thoughtful action</a:t>
          </a:r>
          <a:endParaRPr lang="en-US" sz="1000" kern="1200" dirty="0"/>
        </a:p>
      </dsp:txBody>
      <dsp:txXfrm>
        <a:off x="404462" y="890704"/>
        <a:ext cx="1026053" cy="497547"/>
      </dsp:txXfrm>
    </dsp:sp>
    <dsp:sp modelId="{0315E9E0-9E6D-8840-AC2D-9D2688FD2197}">
      <dsp:nvSpPr>
        <dsp:cNvPr id="0" name=""/>
        <dsp:cNvSpPr/>
      </dsp:nvSpPr>
      <dsp:spPr>
        <a:xfrm rot="19753169">
          <a:off x="1381058" y="610190"/>
          <a:ext cx="539468" cy="184976"/>
        </a:xfrm>
        <a:prstGeom prst="left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>
        <a:off x="1436551" y="647185"/>
        <a:ext cx="428482" cy="1109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443663" y="9101138"/>
            <a:ext cx="368300" cy="1571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1225">
              <a:defRPr sz="800"/>
            </a:lvl1pPr>
          </a:lstStyle>
          <a:p>
            <a:fld id="{9D5CB8B8-5F34-4237-AF7D-35832C52BC00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54554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8488" y="4418013"/>
            <a:ext cx="5610225" cy="45862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398" tIns="44897" rIns="91398" bIns="448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</p:txBody>
      </p:sp>
      <p:sp>
        <p:nvSpPr>
          <p:cNvPr id="2051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3588" y="214313"/>
            <a:ext cx="5284787" cy="39624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</p:sp>
      <p:sp>
        <p:nvSpPr>
          <p:cNvPr id="2052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86538" y="9120188"/>
            <a:ext cx="225425" cy="1381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1225">
              <a:defRPr sz="800"/>
            </a:lvl1pPr>
          </a:lstStyle>
          <a:p>
            <a:fld id="{49609E7F-9528-4EC0-924E-F24DB821635D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30789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rtl="0" fontAlgn="base">
      <a:spcBef>
        <a:spcPct val="100000"/>
      </a:spcBef>
      <a:spcAft>
        <a:spcPct val="0"/>
      </a:spcAft>
      <a:buFont typeface="Wingdings" pitchFamily="2" charset="2"/>
      <a:buChar char="§"/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342900" indent="-163513" algn="l" rtl="0" fontAlgn="base">
      <a:lnSpc>
        <a:spcPct val="85000"/>
      </a:lnSpc>
      <a:spcBef>
        <a:spcPct val="45000"/>
      </a:spcBef>
      <a:spcAft>
        <a:spcPct val="0"/>
      </a:spcAft>
      <a:buChar char="–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520700" indent="-176213" algn="l" rtl="0" fontAlgn="base">
      <a:lnSpc>
        <a:spcPct val="85000"/>
      </a:lnSpc>
      <a:spcBef>
        <a:spcPct val="45000"/>
      </a:spcBef>
      <a:spcAft>
        <a:spcPct val="0"/>
      </a:spcAft>
      <a:buFont typeface="Webdings" pitchFamily="18" charset="2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685800" indent="-163513" algn="l" rtl="0" fontAlgn="base">
      <a:lnSpc>
        <a:spcPct val="85000"/>
      </a:lnSpc>
      <a:spcBef>
        <a:spcPct val="45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Book Antiqua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3588" y="214313"/>
            <a:ext cx="5284787" cy="3962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1902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3588" y="214313"/>
            <a:ext cx="5284787" cy="3962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Essential Agreements that need to be in place at beginning of workshop</a:t>
            </a:r>
            <a:r>
              <a:rPr lang="en-US" baseline="0" dirty="0" smtClean="0"/>
              <a:t> and reviewed at the beginning of Days 2 and 3.  Use Kolb and Fry’s Learning Process as an engagement for what the participants will experience over the next three days.  </a:t>
            </a:r>
          </a:p>
          <a:p>
            <a:pPr marL="0" indent="0">
              <a:buNone/>
            </a:pPr>
            <a:endParaRPr lang="en-US" baseline="0" dirty="0" smtClean="0"/>
          </a:p>
          <a:p>
            <a:pPr marL="0" indent="0">
              <a:buNone/>
            </a:pPr>
            <a:r>
              <a:rPr lang="en-US" baseline="0" dirty="0" smtClean="0"/>
              <a:t>Experiencing – Activities regarding inquiry in the MYP</a:t>
            </a:r>
          </a:p>
          <a:p>
            <a:pPr marL="0" indent="0">
              <a:buNone/>
            </a:pPr>
            <a:r>
              <a:rPr lang="en-US" baseline="0" dirty="0" smtClean="0"/>
              <a:t>Reflecting – Looking at these activities in the context of student learning</a:t>
            </a:r>
          </a:p>
          <a:p>
            <a:pPr marL="0" indent="0">
              <a:buNone/>
            </a:pPr>
            <a:r>
              <a:rPr lang="en-US" baseline="0" dirty="0" smtClean="0"/>
              <a:t>Thinking – How would these activities work in the participants own classroom setting</a:t>
            </a:r>
          </a:p>
          <a:p>
            <a:pPr marL="0" indent="0">
              <a:buNone/>
            </a:pPr>
            <a:r>
              <a:rPr lang="en-US" baseline="0" dirty="0" smtClean="0"/>
              <a:t>Applying – Starting to create and think about ways of acting upon learning from this professional developm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53301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3588" y="214313"/>
            <a:ext cx="5284787" cy="3962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is can be used in conjunction</a:t>
            </a:r>
            <a:r>
              <a:rPr lang="en-US" baseline="0" dirty="0" smtClean="0"/>
              <a:t> with Learner Profile in a later part of the da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43471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3588" y="214313"/>
            <a:ext cx="5284787" cy="3962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Up to workshop leader here</a:t>
            </a:r>
            <a:r>
              <a:rPr lang="en-US" baseline="0" dirty="0" smtClean="0"/>
              <a:t> – any method for group introductions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2021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3588" y="214313"/>
            <a:ext cx="5284787" cy="3962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0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Kolb and Fry (1975) argue that the learning cycle can begin at any one of the four points - and that it should really be approached as a continuous spiral.  They further suggest that effective learning entails the possession of four different abilities and identification of a type of learner (as indicated on each pole of their model):</a:t>
            </a:r>
          </a:p>
          <a:p>
            <a:r>
              <a:rPr lang="en-US" dirty="0" err="1" smtClean="0"/>
              <a:t>Converger</a:t>
            </a:r>
            <a:r>
              <a:rPr lang="en-US" dirty="0" smtClean="0"/>
              <a:t>: </a:t>
            </a:r>
            <a:r>
              <a:rPr lang="en-US" sz="10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Strong in practical application of ideas,</a:t>
            </a:r>
            <a:r>
              <a:rPr lang="en-US" sz="10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c</a:t>
            </a:r>
            <a:r>
              <a:rPr lang="en-US" sz="10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n focus on hypo-deductive reasoning on specific problems</a:t>
            </a:r>
            <a:r>
              <a:rPr lang="en-US" sz="10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u</a:t>
            </a:r>
            <a:r>
              <a:rPr lang="en-US" sz="10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nemotional,</a:t>
            </a:r>
            <a:r>
              <a:rPr lang="en-US" sz="10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h</a:t>
            </a:r>
            <a:r>
              <a:rPr lang="en-US" sz="10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s narrow interests		</a:t>
            </a:r>
          </a:p>
          <a:p>
            <a:r>
              <a:rPr lang="en-US" dirty="0" err="1" smtClean="0"/>
              <a:t>Diverger</a:t>
            </a:r>
            <a:r>
              <a:rPr lang="en-US" dirty="0" smtClean="0"/>
              <a:t>:  </a:t>
            </a:r>
            <a:r>
              <a:rPr lang="en-US" sz="10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Strong in imaginative ability,</a:t>
            </a:r>
            <a:r>
              <a:rPr lang="en-US" sz="10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g</a:t>
            </a:r>
            <a:r>
              <a:rPr lang="en-US" sz="10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ood at generating ideas and seeing things from different perspectives,</a:t>
            </a:r>
            <a:r>
              <a:rPr lang="en-US" sz="10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i</a:t>
            </a:r>
            <a:r>
              <a:rPr lang="en-US" sz="10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nterested in people,</a:t>
            </a:r>
            <a:r>
              <a:rPr lang="en-US" sz="10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b</a:t>
            </a:r>
            <a:r>
              <a:rPr lang="en-US" sz="10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road cultural interests		</a:t>
            </a:r>
          </a:p>
          <a:p>
            <a:r>
              <a:rPr lang="en-US" dirty="0" smtClean="0"/>
              <a:t>Assimilator: </a:t>
            </a:r>
            <a:r>
              <a:rPr lang="en-US" sz="10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Strong ability to create theoretical models,</a:t>
            </a:r>
            <a:r>
              <a:rPr lang="en-US" sz="10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e</a:t>
            </a:r>
            <a:r>
              <a:rPr lang="en-US" sz="10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xcels in inductive reasoning, concerned with abstract concepts rather than people	</a:t>
            </a:r>
          </a:p>
          <a:p>
            <a:pPr marL="0" indent="0">
              <a:buNone/>
            </a:pPr>
            <a:r>
              <a:rPr lang="en-US" sz="10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	</a:t>
            </a:r>
            <a:endParaRPr lang="en-US" dirty="0" smtClean="0"/>
          </a:p>
          <a:p>
            <a:r>
              <a:rPr lang="en-US" dirty="0" smtClean="0"/>
              <a:t>Accommodator: </a:t>
            </a:r>
            <a:r>
              <a:rPr lang="en-US" sz="10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Greatest strength is doing things,</a:t>
            </a:r>
            <a:r>
              <a:rPr lang="en-US" sz="10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m</a:t>
            </a:r>
            <a:r>
              <a:rPr lang="en-US" sz="10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ore of a risk taker,</a:t>
            </a:r>
            <a:r>
              <a:rPr lang="en-US" sz="10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p</a:t>
            </a:r>
            <a:r>
              <a:rPr lang="en-US" sz="10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erforms well when required to react to immediate circumstances,</a:t>
            </a:r>
            <a:r>
              <a:rPr lang="en-US" sz="10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s</a:t>
            </a:r>
            <a:r>
              <a:rPr lang="en-US" sz="10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olves problems intuitively		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72796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6764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endParaRPr lang="en-GB" smtClean="0">
              <a:solidFill>
                <a:srgbClr val="000000"/>
              </a:solidFill>
            </a:endParaRPr>
          </a:p>
        </p:txBody>
      </p:sp>
      <p:pic>
        <p:nvPicPr>
          <p:cNvPr id="15" name="Picture 14" descr="PP title footer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885679"/>
            <a:ext cx="7810706" cy="9819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435" y="3044826"/>
            <a:ext cx="7772400" cy="1362075"/>
          </a:xfrm>
        </p:spPr>
        <p:txBody>
          <a:bodyPr/>
          <a:lstStyle>
            <a:lvl1pPr algn="l">
              <a:defRPr sz="4800" b="1" cap="none" baseline="0">
                <a:solidFill>
                  <a:srgbClr val="1AB7EA"/>
                </a:solidFill>
                <a:latin typeface="+mn-lt"/>
              </a:defRPr>
            </a:lvl1pPr>
          </a:lstStyle>
          <a:p>
            <a:r>
              <a:rPr lang="en-US" dirty="0" smtClean="0"/>
              <a:t>Presentation title here</a:t>
            </a:r>
            <a:endParaRPr lang="en-GB" dirty="0"/>
          </a:p>
        </p:txBody>
      </p:sp>
      <p:pic>
        <p:nvPicPr>
          <p:cNvPr id="12" name="Picture 11" descr="IB Trilingual 3col Hztl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97239" y="755820"/>
            <a:ext cx="3661646" cy="1102200"/>
          </a:xfrm>
          <a:prstGeom prst="rect">
            <a:avLst/>
          </a:prstGeom>
        </p:spPr>
      </p:pic>
      <p:sp>
        <p:nvSpPr>
          <p:cNvPr id="8" name="Date Placeholder 2"/>
          <p:cNvSpPr>
            <a:spLocks noGrp="1"/>
          </p:cNvSpPr>
          <p:nvPr userDrawn="1">
            <p:ph type="dt" sz="half" idx="2"/>
          </p:nvPr>
        </p:nvSpPr>
        <p:spPr>
          <a:xfrm>
            <a:off x="160331" y="6436490"/>
            <a:ext cx="5287701" cy="327992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r>
              <a:rPr lang="nl-NL" smtClean="0">
                <a:solidFill>
                  <a:srgbClr val="000000"/>
                </a:solidFill>
              </a:rPr>
              <a:t>International Baccalaureate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·  Baccalaureate International 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·  Bachillerato Internacional </a:t>
            </a:r>
            <a:r>
              <a:rPr lang="nl-NL" baseline="30000" smtClean="0">
                <a:solidFill>
                  <a:srgbClr val="000000"/>
                </a:solidFill>
              </a:rPr>
              <a:t>®</a:t>
            </a:r>
            <a:r>
              <a:rPr lang="nl-NL" smtClean="0">
                <a:solidFill>
                  <a:srgbClr val="000000"/>
                </a:solidFill>
              </a:rPr>
              <a:t>   </a:t>
            </a:r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7" name="Picture 6" descr="IB Cover Blue.jp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-145101"/>
            <a:ext cx="9144000" cy="700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4584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YP Blu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-145101"/>
            <a:ext cx="9144000" cy="7003102"/>
          </a:xfrm>
          <a:prstGeom prst="rect">
            <a:avLst/>
          </a:prstGeom>
        </p:spPr>
      </p:pic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44113" y="2387601"/>
            <a:ext cx="7347678" cy="140652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4800" b="1" kern="1200" cap="none" baseline="0" noProof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ub brand title page here or title here in 2012</a:t>
            </a: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1114476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YP Whit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-145101"/>
            <a:ext cx="9144000" cy="7003102"/>
          </a:xfrm>
          <a:prstGeom prst="rect">
            <a:avLst/>
          </a:prstGeom>
        </p:spPr>
      </p:pic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44113" y="2387601"/>
            <a:ext cx="7347678" cy="140652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4800" b="1" kern="1200" cap="none" baseline="0" noProof="0" dirty="0">
                <a:solidFill>
                  <a:srgbClr val="1AB7EA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ub brand title page here or title here in 2012</a:t>
            </a: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1655058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92015" y="1603375"/>
            <a:ext cx="7989277" cy="4114800"/>
          </a:xfrm>
        </p:spPr>
        <p:txBody>
          <a:bodyPr/>
          <a:lstStyle>
            <a:lvl3pPr marL="723900" indent="354013">
              <a:defRPr sz="180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58414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2103" y="1535113"/>
            <a:ext cx="4711626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4B8D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2103" y="2361063"/>
            <a:ext cx="4711626" cy="3384644"/>
          </a:xfrm>
        </p:spPr>
        <p:txBody>
          <a:bodyPr/>
          <a:lstStyle>
            <a:lvl1pPr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 sz="2000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800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5467351" y="1535113"/>
            <a:ext cx="3113942" cy="4210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37143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4210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9944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YP Blu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-145101"/>
            <a:ext cx="9144000" cy="7003102"/>
          </a:xfrm>
          <a:prstGeom prst="rect">
            <a:avLst/>
          </a:prstGeom>
        </p:spPr>
      </p:pic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44113" y="2387601"/>
            <a:ext cx="7347678" cy="140652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4800" b="1" kern="1200" cap="none" baseline="0" noProof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ub brand title page here or title here in 2012</a:t>
            </a: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7882555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0532" y="6374145"/>
            <a:ext cx="1512277" cy="169863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E4196560-B2FD-8E44-9001-9EFA74069B92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2426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2.xml"/><Relationship Id="rId12" Type="http://schemas.openxmlformats.org/officeDocument/2006/relationships/tags" Target="../tags/tag3.xml"/><Relationship Id="rId13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160" name="Rectangle 136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592104" y="593725"/>
            <a:ext cx="7989189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513164" name="Rectangle 140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592103" y="1548245"/>
            <a:ext cx="7989189" cy="4129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 smtClean="0"/>
              <a:t>Lorem</a:t>
            </a:r>
            <a:r>
              <a:rPr lang="en-GB" dirty="0" smtClean="0"/>
              <a:t> </a:t>
            </a:r>
            <a:r>
              <a:rPr lang="en-GB" dirty="0" err="1" smtClean="0"/>
              <a:t>ipsum</a:t>
            </a:r>
            <a:r>
              <a:rPr lang="en-GB" dirty="0" smtClean="0"/>
              <a:t> </a:t>
            </a:r>
            <a:r>
              <a:rPr lang="en-GB" dirty="0" err="1" smtClean="0"/>
              <a:t>dolor</a:t>
            </a:r>
            <a:r>
              <a:rPr lang="en-GB" dirty="0" smtClean="0"/>
              <a:t> sit</a:t>
            </a:r>
          </a:p>
          <a:p>
            <a:pPr lvl="0"/>
            <a:r>
              <a:rPr lang="nl-NL" dirty="0" smtClean="0"/>
              <a:t>Lorem ipsum dolor sit</a:t>
            </a:r>
            <a:endParaRPr lang="en-GB" dirty="0" smtClean="0"/>
          </a:p>
          <a:p>
            <a:pPr lvl="1"/>
            <a:r>
              <a:rPr lang="nl-NL" dirty="0" smtClean="0"/>
              <a:t>Click</a:t>
            </a:r>
          </a:p>
          <a:p>
            <a:pPr lvl="5"/>
            <a:r>
              <a:rPr lang="nl-NL" dirty="0" smtClean="0"/>
              <a:t>Click</a:t>
            </a:r>
          </a:p>
        </p:txBody>
      </p:sp>
      <p:pic>
        <p:nvPicPr>
          <p:cNvPr id="7" name="Picture 6" descr="Content footer.jpg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0" y="5823020"/>
            <a:ext cx="6928864" cy="1034980"/>
          </a:xfrm>
          <a:prstGeom prst="rect">
            <a:avLst/>
          </a:prstGeom>
        </p:spPr>
      </p:pic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5933627" y="6356351"/>
            <a:ext cx="1952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Folio information her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7886306" y="6356351"/>
            <a:ext cx="8004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r>
              <a:rPr lang="en-GB" smtClean="0">
                <a:solidFill>
                  <a:srgbClr val="000000"/>
                </a:solidFill>
              </a:rPr>
              <a:t>Page </a:t>
            </a:r>
            <a:fld id="{817397F4-D26B-4992-9633-C515EEDCC268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5920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1AB7EA"/>
          </a:solidFill>
          <a:latin typeface="Arial Black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9pPr>
    </p:titleStyle>
    <p:bodyStyle>
      <a:lvl1pPr marL="355600" indent="-355600" algn="l" rtl="0" eaLnBrk="1" fontAlgn="base" hangingPunct="1"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sz="2600">
          <a:solidFill>
            <a:srgbClr val="004B8D"/>
          </a:solidFill>
          <a:latin typeface="+mn-lt"/>
          <a:ea typeface="+mn-ea"/>
          <a:cs typeface="+mn-cs"/>
        </a:defRPr>
      </a:lvl1pPr>
      <a:lvl2pPr marL="720000" indent="-3600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lang="nl-NL" sz="2200" dirty="0" smtClean="0">
          <a:solidFill>
            <a:srgbClr val="004B8D"/>
          </a:solidFill>
          <a:latin typeface="+mn-lt"/>
        </a:defRPr>
      </a:lvl2pPr>
      <a:lvl3pPr marL="2278063" indent="11113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Font typeface="Arial" pitchFamily="34" charset="0"/>
        <a:buChar char="•"/>
        <a:defRPr sz="1600">
          <a:solidFill>
            <a:srgbClr val="004B8D"/>
          </a:solidFill>
          <a:latin typeface="Arial" pitchFamily="34" charset="0"/>
          <a:cs typeface="Arial" pitchFamily="34" charset="0"/>
        </a:defRPr>
      </a:lvl3pPr>
      <a:lvl4pPr marL="2403475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1600">
          <a:solidFill>
            <a:schemeClr val="tx1"/>
          </a:solidFill>
          <a:latin typeface="+mj-lt"/>
        </a:defRPr>
      </a:lvl4pPr>
      <a:lvl5pPr marL="25177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5pPr>
      <a:lvl6pPr marL="1080000" indent="-360000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rgbClr val="004B8D"/>
        </a:buClr>
        <a:buSzPct val="100000"/>
        <a:buFont typeface="Arial" pitchFamily="34" charset="0"/>
        <a:buChar char="•"/>
        <a:defRPr lang="en-GB" sz="1800" dirty="0" smtClean="0">
          <a:solidFill>
            <a:srgbClr val="004B8D"/>
          </a:solidFill>
          <a:latin typeface="+mn-lt"/>
        </a:defRPr>
      </a:lvl6pPr>
      <a:lvl7pPr marL="34321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7pPr>
      <a:lvl8pPr marL="38893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8pPr>
      <a:lvl9pPr marL="43465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1.png"/><Relationship Id="rId3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diagramData" Target="../diagrams/data1.xml"/><Relationship Id="rId5" Type="http://schemas.openxmlformats.org/officeDocument/2006/relationships/diagramLayout" Target="../diagrams/layout1.xml"/><Relationship Id="rId6" Type="http://schemas.openxmlformats.org/officeDocument/2006/relationships/diagramQuickStyle" Target="../diagrams/quickStyle1.xml"/><Relationship Id="rId7" Type="http://schemas.openxmlformats.org/officeDocument/2006/relationships/diagramColors" Target="../diagrams/colors1.xml"/><Relationship Id="rId8" Type="http://schemas.microsoft.com/office/2007/relationships/diagramDrawing" Target="../diagrams/drawing1.xml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35760" y="896230"/>
            <a:ext cx="8598388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4800" b="1" dirty="0" smtClean="0">
                <a:solidFill>
                  <a:srgbClr val="FF0000"/>
                </a:solidFill>
              </a:rPr>
              <a:t>The Inquiry Cycle</a:t>
            </a:r>
          </a:p>
          <a:p>
            <a:pPr algn="ctr">
              <a:lnSpc>
                <a:spcPct val="150000"/>
              </a:lnSpc>
            </a:pPr>
            <a:r>
              <a:rPr lang="en-US" sz="4800" b="1" dirty="0" smtClean="0">
                <a:solidFill>
                  <a:srgbClr val="FF0000"/>
                </a:solidFill>
              </a:rPr>
              <a:t>Visible Thinking Routines</a:t>
            </a:r>
          </a:p>
          <a:p>
            <a:pPr algn="ctr">
              <a:lnSpc>
                <a:spcPct val="150000"/>
              </a:lnSpc>
            </a:pPr>
            <a:r>
              <a:rPr lang="en-US" sz="4800" b="1" dirty="0" smtClean="0">
                <a:solidFill>
                  <a:srgbClr val="FF0000"/>
                </a:solidFill>
              </a:rPr>
              <a:t>&amp; Language.  </a:t>
            </a:r>
            <a:endParaRPr lang="en-US" sz="4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9009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154113" y="593725"/>
            <a:ext cx="7989887" cy="715963"/>
          </a:xfrm>
        </p:spPr>
        <p:txBody>
          <a:bodyPr/>
          <a:lstStyle/>
          <a:p>
            <a:r>
              <a:rPr lang="en-US" dirty="0" smtClean="0">
                <a:solidFill>
                  <a:srgbClr val="FF0000"/>
                </a:solidFill>
              </a:rPr>
              <a:t>Visible thinking routine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005388" y="5486400"/>
            <a:ext cx="4138612" cy="500063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http://</a:t>
            </a:r>
            <a:r>
              <a:rPr lang="en-US" b="1" dirty="0" err="1"/>
              <a:t>tinyurl.com</a:t>
            </a:r>
            <a:r>
              <a:rPr lang="en-US" b="1" dirty="0"/>
              <a:t>/</a:t>
            </a:r>
            <a:r>
              <a:rPr lang="en-US" b="1" dirty="0" err="1"/>
              <a:t>vtroutx</a:t>
            </a:r>
            <a:endParaRPr lang="en-US" dirty="0"/>
          </a:p>
        </p:txBody>
      </p:sp>
      <p:pic>
        <p:nvPicPr>
          <p:cNvPr id="4" name="Picture 3" descr="Screen Shot 2016-04-04 at 9.07.00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92956"/>
            <a:ext cx="9144000" cy="4109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1550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154113" y="593725"/>
            <a:ext cx="7989887" cy="715963"/>
          </a:xfrm>
        </p:spPr>
        <p:txBody>
          <a:bodyPr/>
          <a:lstStyle/>
          <a:p>
            <a:r>
              <a:rPr lang="en-US" dirty="0" smtClean="0"/>
              <a:t>Which routine is more appropriate for each stage?</a:t>
            </a:r>
            <a:endParaRPr lang="en-US" dirty="0"/>
          </a:p>
        </p:txBody>
      </p:sp>
      <p:pic>
        <p:nvPicPr>
          <p:cNvPr id="4" name="Picture 3" descr="Screen Shot 2016-04-04 at 9.01.07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1278" y="1511903"/>
            <a:ext cx="3270015" cy="4717135"/>
          </a:xfrm>
          <a:prstGeom prst="rect">
            <a:avLst/>
          </a:prstGeom>
        </p:spPr>
      </p:pic>
      <p:pic>
        <p:nvPicPr>
          <p:cNvPr id="5" name="Picture 4" descr="Screen Shot 2016-04-04 at 9.07.00 AM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533"/>
          <a:stretch/>
        </p:blipFill>
        <p:spPr>
          <a:xfrm>
            <a:off x="592104" y="1660070"/>
            <a:ext cx="4102119" cy="4292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479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154113" y="593725"/>
            <a:ext cx="7989887" cy="715963"/>
          </a:xfrm>
        </p:spPr>
        <p:txBody>
          <a:bodyPr/>
          <a:lstStyle/>
          <a:p>
            <a:r>
              <a:rPr lang="en-US" dirty="0" smtClean="0"/>
              <a:t>Language in Visible Thinking Routin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154113" y="1603375"/>
            <a:ext cx="7989887" cy="4114800"/>
          </a:xfrm>
        </p:spPr>
        <p:txBody>
          <a:bodyPr/>
          <a:lstStyle/>
          <a:p>
            <a:r>
              <a:rPr lang="en-US" dirty="0" smtClean="0"/>
              <a:t>Think-Pair-Share</a:t>
            </a:r>
          </a:p>
          <a:p>
            <a:r>
              <a:rPr lang="en-US" dirty="0" smtClean="0"/>
              <a:t>Generate-Sort-Connect-Elaborate</a:t>
            </a:r>
          </a:p>
          <a:p>
            <a:r>
              <a:rPr lang="en-US" dirty="0" smtClean="0"/>
              <a:t>Think-Puzzle-Explore</a:t>
            </a:r>
          </a:p>
          <a:p>
            <a:r>
              <a:rPr lang="en-US" dirty="0" smtClean="0"/>
              <a:t>Connect-Extend-Challenge</a:t>
            </a:r>
          </a:p>
          <a:p>
            <a:r>
              <a:rPr lang="en-US" dirty="0" smtClean="0"/>
              <a:t>See-Think-Wonder</a:t>
            </a:r>
          </a:p>
          <a:p>
            <a:r>
              <a:rPr lang="en-US" dirty="0" smtClean="0"/>
              <a:t>Claim-Support-Question</a:t>
            </a:r>
          </a:p>
          <a:p>
            <a:r>
              <a:rPr lang="en-US" dirty="0" smtClean="0"/>
              <a:t>Reporter’s notebook</a:t>
            </a:r>
          </a:p>
          <a:p>
            <a:r>
              <a:rPr lang="en-US" dirty="0" smtClean="0"/>
              <a:t>Making it fair: Now Then Later</a:t>
            </a:r>
          </a:p>
          <a:p>
            <a:r>
              <a:rPr lang="en-US" dirty="0" smtClean="0"/>
              <a:t>Compass Points</a:t>
            </a:r>
          </a:p>
          <a:p>
            <a:r>
              <a:rPr lang="en-US" dirty="0" smtClean="0"/>
              <a:t>I used to think</a:t>
            </a:r>
            <a:r>
              <a:rPr lang="is-IS" dirty="0" smtClean="0"/>
              <a:t>…. </a:t>
            </a:r>
            <a:r>
              <a:rPr lang="en-US" dirty="0" smtClean="0"/>
              <a:t>now I thin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1074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188913"/>
            <a:ext cx="8763000" cy="715962"/>
          </a:xfrm>
        </p:spPr>
        <p:txBody>
          <a:bodyPr/>
          <a:lstStyle/>
          <a:p>
            <a:r>
              <a:rPr lang="en-GB" dirty="0" smtClean="0"/>
              <a:t>Aim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4294967295"/>
          </p:nvPr>
        </p:nvSpPr>
        <p:spPr>
          <a:xfrm>
            <a:off x="0" y="1163638"/>
            <a:ext cx="8763000" cy="3930650"/>
          </a:xfrm>
          <a:prstGeom prst="rect">
            <a:avLst/>
          </a:prstGeom>
        </p:spPr>
        <p:txBody>
          <a:bodyPr/>
          <a:lstStyle/>
          <a:p>
            <a:pPr marL="0" lvl="0" indent="0" algn="just">
              <a:spcBef>
                <a:spcPts val="600"/>
              </a:spcBef>
              <a:spcAft>
                <a:spcPts val="0"/>
              </a:spcAft>
              <a:buNone/>
            </a:pPr>
            <a:endParaRPr lang="en-US" sz="2200" dirty="0"/>
          </a:p>
          <a:p>
            <a:pPr marL="0" indent="0" algn="just">
              <a:spcBef>
                <a:spcPts val="600"/>
              </a:spcBef>
              <a:spcAft>
                <a:spcPts val="0"/>
              </a:spcAft>
              <a:buNone/>
            </a:pPr>
            <a:endParaRPr lang="en-GB" sz="2200" dirty="0" smtClean="0"/>
          </a:p>
          <a:p>
            <a:pPr algn="just">
              <a:spcBef>
                <a:spcPts val="600"/>
              </a:spcBef>
              <a:spcAft>
                <a:spcPts val="0"/>
              </a:spcAft>
            </a:pPr>
            <a:endParaRPr lang="en-GB" sz="2200" dirty="0"/>
          </a:p>
        </p:txBody>
      </p:sp>
      <p:sp>
        <p:nvSpPr>
          <p:cNvPr id="4" name="Rectangle 3"/>
          <p:cNvSpPr/>
          <p:nvPr/>
        </p:nvSpPr>
        <p:spPr>
          <a:xfrm>
            <a:off x="190501" y="808682"/>
            <a:ext cx="8762999" cy="44627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004B8D"/>
                </a:solidFill>
              </a:rPr>
              <a:t>Enhance </a:t>
            </a:r>
            <a:r>
              <a:rPr lang="en-US" sz="2400" dirty="0">
                <a:solidFill>
                  <a:srgbClr val="004B8D"/>
                </a:solidFill>
              </a:rPr>
              <a:t>understanding of the role of </a:t>
            </a:r>
            <a:r>
              <a:rPr lang="en-US" sz="2400" dirty="0" smtClean="0">
                <a:solidFill>
                  <a:srgbClr val="004B8D"/>
                </a:solidFill>
              </a:rPr>
              <a:t>the inquiry cycle in the design of units and planning of learning.  </a:t>
            </a:r>
            <a:endParaRPr lang="en-US" sz="2400" dirty="0">
              <a:solidFill>
                <a:srgbClr val="004B8D"/>
              </a:solidFill>
            </a:endParaRPr>
          </a:p>
          <a:p>
            <a:pPr marL="285750" lvl="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004B8D"/>
                </a:solidFill>
              </a:rPr>
              <a:t>Become aware of the role Visible Thinking Routines can play in different stages of the IC. </a:t>
            </a:r>
            <a:endParaRPr lang="en-US" sz="2400" dirty="0">
              <a:solidFill>
                <a:srgbClr val="004B8D"/>
              </a:solidFill>
            </a:endParaRPr>
          </a:p>
          <a:p>
            <a:pPr marL="285750" lvl="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004B8D"/>
                </a:solidFill>
              </a:rPr>
              <a:t>Observe the language implications each VT Routine has for teaching and learning. </a:t>
            </a:r>
            <a:endParaRPr lang="en-US" sz="2400" dirty="0">
              <a:solidFill>
                <a:srgbClr val="004B8D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004B8D"/>
                </a:solidFill>
              </a:rPr>
              <a:t>Visualize the relationship between techniques </a:t>
            </a:r>
            <a:r>
              <a:rPr lang="en-US" sz="2400" dirty="0">
                <a:solidFill>
                  <a:srgbClr val="004B8D"/>
                </a:solidFill>
              </a:rPr>
              <a:t>in ‘Approaches to </a:t>
            </a:r>
            <a:r>
              <a:rPr lang="en-US" sz="2400" dirty="0" smtClean="0">
                <a:solidFill>
                  <a:srgbClr val="004B8D"/>
                </a:solidFill>
              </a:rPr>
              <a:t>learning</a:t>
            </a:r>
            <a:r>
              <a:rPr lang="en-US" sz="2400" dirty="0">
                <a:solidFill>
                  <a:srgbClr val="004B8D"/>
                </a:solidFill>
              </a:rPr>
              <a:t>’ </a:t>
            </a:r>
            <a:r>
              <a:rPr lang="en-US" sz="2400" dirty="0" smtClean="0">
                <a:solidFill>
                  <a:srgbClr val="004B8D"/>
                </a:solidFill>
              </a:rPr>
              <a:t>and ‘Approaches to Teaching’ in the Inquiry Cycle.  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004B8D"/>
                </a:solidFill>
              </a:rPr>
              <a:t>Develop a personal approach for incorporating VT routines as a ATL strategy when planning inquiries.</a:t>
            </a:r>
            <a:endParaRPr lang="en-US" sz="2400" dirty="0">
              <a:solidFill>
                <a:srgbClr val="004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4172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idx="4294967295"/>
          </p:nvPr>
        </p:nvSpPr>
        <p:spPr>
          <a:xfrm>
            <a:off x="335760" y="319088"/>
            <a:ext cx="7988300" cy="715962"/>
          </a:xfrm>
        </p:spPr>
        <p:txBody>
          <a:bodyPr/>
          <a:lstStyle/>
          <a:p>
            <a:r>
              <a:rPr lang="en-US" dirty="0" smtClean="0"/>
              <a:t>Essential understandings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4294967295"/>
          </p:nvPr>
        </p:nvSpPr>
        <p:spPr>
          <a:xfrm>
            <a:off x="335760" y="1058863"/>
            <a:ext cx="8399463" cy="3057525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en-US" sz="2200" dirty="0" smtClean="0"/>
              <a:t>Key Concept: </a:t>
            </a:r>
            <a:r>
              <a:rPr lang="en-US" sz="2200" dirty="0" smtClean="0">
                <a:solidFill>
                  <a:srgbClr val="FF0000"/>
                </a:solidFill>
              </a:rPr>
              <a:t>Connections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en-US" sz="2200" dirty="0" smtClean="0"/>
              <a:t>Related concept (Language </a:t>
            </a:r>
            <a:r>
              <a:rPr lang="en-US" sz="2200" dirty="0" err="1" smtClean="0"/>
              <a:t>Acq</a:t>
            </a:r>
            <a:r>
              <a:rPr lang="en-US" sz="2200" dirty="0" smtClean="0"/>
              <a:t>): </a:t>
            </a:r>
            <a:r>
              <a:rPr lang="en-US" sz="2200" dirty="0" smtClean="0">
                <a:solidFill>
                  <a:srgbClr val="FF0000"/>
                </a:solidFill>
              </a:rPr>
              <a:t>Function, Purpose, Context 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en-US" sz="2200" dirty="0" smtClean="0"/>
              <a:t>Global Context: </a:t>
            </a:r>
            <a:r>
              <a:rPr lang="en-US" sz="2200" dirty="0" smtClean="0">
                <a:solidFill>
                  <a:srgbClr val="FF0000"/>
                </a:solidFill>
              </a:rPr>
              <a:t>Globalization and Sustainability</a:t>
            </a:r>
            <a:r>
              <a:rPr lang="en-US" sz="2200" dirty="0" smtClean="0"/>
              <a:t>- An exploration of </a:t>
            </a:r>
            <a:r>
              <a:rPr lang="en-US" sz="2400" dirty="0"/>
              <a:t>the </a:t>
            </a:r>
            <a:r>
              <a:rPr lang="en-US" sz="2400" dirty="0" smtClean="0"/>
              <a:t>inter-connectedness </a:t>
            </a:r>
            <a:r>
              <a:rPr lang="en-US" sz="2400" dirty="0"/>
              <a:t>of human-made systems and </a:t>
            </a:r>
            <a:r>
              <a:rPr lang="en-US" sz="2400" dirty="0" smtClean="0"/>
              <a:t>communities.</a:t>
            </a:r>
            <a:endParaRPr lang="en-US" sz="2200" dirty="0" smtClean="0"/>
          </a:p>
          <a:p>
            <a:pPr marL="0" indent="0">
              <a:spcAft>
                <a:spcPts val="600"/>
              </a:spcAft>
              <a:buNone/>
            </a:pPr>
            <a:r>
              <a:rPr lang="en-US" sz="2200" dirty="0" smtClean="0"/>
              <a:t>Statement of Inquiry: The process of </a:t>
            </a:r>
            <a:r>
              <a:rPr lang="en-US" sz="2200" dirty="0" smtClean="0">
                <a:solidFill>
                  <a:srgbClr val="FF0000"/>
                </a:solidFill>
              </a:rPr>
              <a:t>inquiry</a:t>
            </a:r>
            <a:r>
              <a:rPr lang="en-US" sz="2200" dirty="0" smtClean="0"/>
              <a:t> involves a series of </a:t>
            </a:r>
            <a:r>
              <a:rPr lang="en-US" sz="2200" dirty="0" smtClean="0">
                <a:solidFill>
                  <a:srgbClr val="FF0000"/>
                </a:solidFill>
              </a:rPr>
              <a:t>connections</a:t>
            </a:r>
            <a:r>
              <a:rPr lang="en-US" sz="2200" dirty="0" smtClean="0"/>
              <a:t> that contribute to the design of </a:t>
            </a:r>
            <a:r>
              <a:rPr lang="en-US" sz="2200" dirty="0" smtClean="0">
                <a:solidFill>
                  <a:srgbClr val="FF0000"/>
                </a:solidFill>
              </a:rPr>
              <a:t>sustainable</a:t>
            </a:r>
            <a:r>
              <a:rPr lang="en-US" sz="2200" dirty="0" smtClean="0"/>
              <a:t> learning and considers </a:t>
            </a:r>
            <a:r>
              <a:rPr lang="en-US" sz="2200" dirty="0" smtClean="0">
                <a:solidFill>
                  <a:srgbClr val="FF0000"/>
                </a:solidFill>
              </a:rPr>
              <a:t>function</a:t>
            </a:r>
            <a:r>
              <a:rPr lang="en-US" sz="2200" dirty="0" smtClean="0"/>
              <a:t>, </a:t>
            </a:r>
            <a:r>
              <a:rPr lang="en-US" sz="2200" dirty="0" smtClean="0">
                <a:solidFill>
                  <a:srgbClr val="FF0000"/>
                </a:solidFill>
              </a:rPr>
              <a:t>purpose</a:t>
            </a:r>
            <a:r>
              <a:rPr lang="en-US" sz="2200" dirty="0" smtClean="0"/>
              <a:t>, and </a:t>
            </a:r>
            <a:r>
              <a:rPr lang="en-US" sz="2200" dirty="0" smtClean="0">
                <a:solidFill>
                  <a:srgbClr val="FF0000"/>
                </a:solidFill>
              </a:rPr>
              <a:t>context</a:t>
            </a:r>
            <a:r>
              <a:rPr lang="en-US" sz="2200" dirty="0" smtClean="0"/>
              <a:t>.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2019" y="4331280"/>
            <a:ext cx="2668382" cy="205329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098086" y="6299350"/>
            <a:ext cx="28386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 smtClean="0">
                <a:solidFill>
                  <a:srgbClr val="004B8D"/>
                </a:solidFill>
              </a:rPr>
              <a:t>Kolb and Fry’s Learning process</a:t>
            </a:r>
            <a:endParaRPr lang="en-US" sz="1400" dirty="0">
              <a:solidFill>
                <a:srgbClr val="004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53387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154113" y="593725"/>
            <a:ext cx="7989887" cy="715963"/>
          </a:xfrm>
        </p:spPr>
        <p:txBody>
          <a:bodyPr/>
          <a:lstStyle/>
          <a:p>
            <a:r>
              <a:rPr lang="en-US" dirty="0" smtClean="0"/>
              <a:t>Summative Assessmen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154113" y="1309688"/>
            <a:ext cx="7989887" cy="4408487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Describe (and be ready to develop) the learning path that you’d design for your next unit of inquir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Evidence:</a:t>
            </a:r>
          </a:p>
          <a:p>
            <a:r>
              <a:rPr lang="en-US" dirty="0" smtClean="0"/>
              <a:t>Clear understanding of the IC stages.</a:t>
            </a:r>
          </a:p>
          <a:p>
            <a:r>
              <a:rPr lang="en-US" dirty="0" smtClean="0"/>
              <a:t>An effective collection of strategies (ATL: teaching and learnin</a:t>
            </a:r>
            <a:r>
              <a:rPr lang="en-US" dirty="0"/>
              <a:t>g</a:t>
            </a:r>
            <a:r>
              <a:rPr lang="en-US" dirty="0" smtClean="0"/>
              <a:t>)</a:t>
            </a:r>
          </a:p>
          <a:p>
            <a:r>
              <a:rPr lang="en-US" dirty="0" smtClean="0"/>
              <a:t>A broad and varied collection of resources (ideas)</a:t>
            </a:r>
          </a:p>
          <a:p>
            <a:r>
              <a:rPr lang="en-US" dirty="0" smtClean="0"/>
              <a:t>A diverse collection of tools to employ</a:t>
            </a:r>
          </a:p>
          <a:p>
            <a:r>
              <a:rPr lang="en-US" dirty="0" smtClean="0"/>
              <a:t>Relevant use of VT routines (+ language awareness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30766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036478" y="430213"/>
            <a:ext cx="6718300" cy="715962"/>
          </a:xfrm>
        </p:spPr>
        <p:txBody>
          <a:bodyPr/>
          <a:lstStyle/>
          <a:p>
            <a:r>
              <a:rPr lang="en-US" dirty="0" smtClean="0"/>
              <a:t>Questions worth asking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type="body" sz="quarter" idx="4294967295"/>
          </p:nvPr>
        </p:nvSpPr>
        <p:spPr>
          <a:xfrm>
            <a:off x="364957" y="1603375"/>
            <a:ext cx="8185150" cy="4114800"/>
          </a:xfrm>
        </p:spPr>
        <p:txBody>
          <a:bodyPr/>
          <a:lstStyle/>
          <a:p>
            <a:r>
              <a:rPr lang="en-US" sz="2800" dirty="0" smtClean="0"/>
              <a:t>What questions would you like students to ask about ‘the gifts’ of your subject?</a:t>
            </a:r>
            <a:endParaRPr lang="en-US" sz="2800" dirty="0"/>
          </a:p>
          <a:p>
            <a:pPr>
              <a:buFont typeface="Arial" charset="0"/>
              <a:buNone/>
            </a:pPr>
            <a:endParaRPr lang="en-US" sz="20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5559" y="3276534"/>
            <a:ext cx="3459794" cy="2667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8335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idx="4294967295"/>
          </p:nvPr>
        </p:nvSpPr>
        <p:spPr>
          <a:xfrm>
            <a:off x="0" y="455613"/>
            <a:ext cx="7212013" cy="715962"/>
          </a:xfrm>
        </p:spPr>
        <p:txBody>
          <a:bodyPr/>
          <a:lstStyle/>
          <a:p>
            <a:pPr algn="ctr"/>
            <a:r>
              <a:rPr lang="en-US" dirty="0" smtClean="0"/>
              <a:t>Approaches to Learning</a:t>
            </a:r>
            <a:endParaRPr lang="en-US" dirty="0"/>
          </a:p>
        </p:txBody>
      </p:sp>
      <p:pic>
        <p:nvPicPr>
          <p:cNvPr id="4" name="Picture 3" descr="Screen Shot 2016-03-24 at 8.44.45 P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649" y="3898001"/>
            <a:ext cx="7430526" cy="185431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715245" y="5795907"/>
            <a:ext cx="35765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/>
              <a:t>*Also known as the 6 pedagogical principles.</a:t>
            </a:r>
            <a:endParaRPr lang="en-US" i="1" dirty="0"/>
          </a:p>
        </p:txBody>
      </p:sp>
      <p:pic>
        <p:nvPicPr>
          <p:cNvPr id="7" name="Picture 6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151" y="1230444"/>
            <a:ext cx="8166836" cy="2536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4329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425450"/>
            <a:ext cx="2824163" cy="715963"/>
          </a:xfrm>
        </p:spPr>
        <p:txBody>
          <a:bodyPr/>
          <a:lstStyle/>
          <a:p>
            <a:r>
              <a:rPr lang="en-US" dirty="0" smtClean="0"/>
              <a:t>Kolb and Fry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40759"/>
            <a:ext cx="4806840" cy="3698825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4307229" y="2505965"/>
            <a:ext cx="4768192" cy="4026136"/>
            <a:chOff x="4375809" y="1980185"/>
            <a:chExt cx="4768192" cy="4026136"/>
          </a:xfrm>
        </p:grpSpPr>
        <p:graphicFrame>
          <p:nvGraphicFramePr>
            <p:cNvPr id="5" name="Diagram 4"/>
            <p:cNvGraphicFramePr/>
            <p:nvPr>
              <p:extLst>
                <p:ext uri="{D42A27DB-BD31-4B8C-83A1-F6EECF244321}">
                  <p14:modId xmlns:p14="http://schemas.microsoft.com/office/powerpoint/2010/main" val="470717943"/>
                </p:ext>
              </p:extLst>
            </p:nvPr>
          </p:nvGraphicFramePr>
          <p:xfrm>
            <a:off x="4375809" y="1980185"/>
            <a:ext cx="4768192" cy="402613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" r:lo="rId5" r:qs="rId6" r:cs="rId7"/>
            </a:graphicData>
          </a:graphic>
        </p:graphicFrame>
        <p:sp>
          <p:nvSpPr>
            <p:cNvPr id="6" name="Title 1"/>
            <p:cNvSpPr txBox="1">
              <a:spLocks/>
            </p:cNvSpPr>
            <p:nvPr/>
          </p:nvSpPr>
          <p:spPr bwMode="auto">
            <a:xfrm>
              <a:off x="5742470" y="3685638"/>
              <a:ext cx="2144229" cy="7159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1AB7EA"/>
                  </a:solidFill>
                  <a:latin typeface="Arial Black" pitchFamily="34" charset="0"/>
                  <a:ea typeface="+mj-ea"/>
                  <a:cs typeface="+mj-cs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Book Antiqua" pitchFamily="18" charset="0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Book Antiqua" pitchFamily="18" charset="0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Book Antiqua" pitchFamily="18" charset="0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Book Antiqua" pitchFamily="18" charset="0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Book Antiqua" pitchFamily="18" charset="0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Book Antiqua" pitchFamily="18" charset="0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Book Antiqua" pitchFamily="18" charset="0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Book Antiqua" pitchFamily="18" charset="0"/>
                </a:defRPr>
              </a:lvl9pPr>
            </a:lstStyle>
            <a:p>
              <a:pPr algn="ctr"/>
              <a:r>
                <a:rPr lang="en-US" sz="1800" dirty="0" smtClean="0"/>
                <a:t>Building from the known </a:t>
              </a:r>
            </a:p>
            <a:p>
              <a:pPr algn="ctr"/>
              <a:r>
                <a:rPr lang="en-US" sz="1800" dirty="0" smtClean="0"/>
                <a:t>(Kathy Short)</a:t>
              </a:r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5854481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creen Shot 2016-04-04 at 9.01.07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7434" y="248188"/>
            <a:ext cx="4058322" cy="585430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35760" y="715363"/>
            <a:ext cx="448167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0000FF"/>
                </a:solidFill>
              </a:rPr>
              <a:t>Kath Murdoch’s Inquiry cycle</a:t>
            </a:r>
          </a:p>
          <a:p>
            <a:endParaRPr lang="en-US" sz="2400" dirty="0" smtClean="0"/>
          </a:p>
          <a:p>
            <a:endParaRPr lang="en-US" sz="2400" dirty="0"/>
          </a:p>
          <a:p>
            <a:endParaRPr lang="en-US" sz="2400" dirty="0"/>
          </a:p>
          <a:p>
            <a:pPr marL="171450" indent="-171450">
              <a:buFontTx/>
              <a:buChar char="-"/>
            </a:pPr>
            <a:r>
              <a:rPr lang="en-US" sz="2400" dirty="0" smtClean="0"/>
              <a:t>Commonly used in PYP</a:t>
            </a:r>
          </a:p>
          <a:p>
            <a:pPr marL="171450" indent="-171450">
              <a:buFontTx/>
              <a:buChar char="-"/>
            </a:pPr>
            <a:r>
              <a:rPr lang="en-US" sz="2400" dirty="0" smtClean="0"/>
              <a:t>A useful framework to map inquiry in MYP</a:t>
            </a:r>
          </a:p>
          <a:p>
            <a:pPr marL="171450" indent="-171450">
              <a:buFontTx/>
              <a:buChar char="-"/>
            </a:pPr>
            <a:r>
              <a:rPr lang="en-US" sz="2400" dirty="0" smtClean="0"/>
              <a:t>A strategy to help students manage their learning in DP</a:t>
            </a:r>
            <a:endParaRPr lang="en-US" sz="2400" dirty="0"/>
          </a:p>
        </p:txBody>
      </p:sp>
      <p:sp>
        <p:nvSpPr>
          <p:cNvPr id="6" name="TextBox 5"/>
          <p:cNvSpPr txBox="1"/>
          <p:nvPr/>
        </p:nvSpPr>
        <p:spPr>
          <a:xfrm>
            <a:off x="423353" y="4219196"/>
            <a:ext cx="392693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Do now:</a:t>
            </a:r>
          </a:p>
          <a:p>
            <a:r>
              <a:rPr lang="en-US" sz="3200" b="1" dirty="0" smtClean="0">
                <a:solidFill>
                  <a:srgbClr val="FF0000"/>
                </a:solidFill>
              </a:rPr>
              <a:t>What happens in each stage?</a:t>
            </a:r>
            <a:endParaRPr lang="en-US" sz="3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6507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creen Shot 2016-04-04 at 9.01.07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7434" y="248188"/>
            <a:ext cx="4058322" cy="585430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35760" y="715363"/>
            <a:ext cx="448167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0000FF"/>
                </a:solidFill>
              </a:rPr>
              <a:t>Kath Murdoch’s Inquiry cycle</a:t>
            </a:r>
          </a:p>
          <a:p>
            <a:endParaRPr lang="en-US" sz="2400" dirty="0"/>
          </a:p>
          <a:p>
            <a:pPr marL="171450" indent="-171450">
              <a:buFontTx/>
              <a:buChar char="-"/>
            </a:pPr>
            <a:r>
              <a:rPr lang="en-US" sz="2400" dirty="0" smtClean="0"/>
              <a:t>Commonly used in PYP</a:t>
            </a:r>
          </a:p>
          <a:p>
            <a:pPr marL="171450" indent="-171450">
              <a:buFontTx/>
              <a:buChar char="-"/>
            </a:pPr>
            <a:r>
              <a:rPr lang="en-US" sz="2400" dirty="0" smtClean="0"/>
              <a:t>A useful framework to map inquiry in MYP</a:t>
            </a:r>
          </a:p>
          <a:p>
            <a:pPr marL="171450" indent="-171450">
              <a:buFontTx/>
              <a:buChar char="-"/>
            </a:pPr>
            <a:r>
              <a:rPr lang="en-US" sz="2400" dirty="0" smtClean="0"/>
              <a:t>A strategy to help students manage their learning in DP</a:t>
            </a:r>
            <a:endParaRPr lang="en-US" sz="2400" dirty="0"/>
          </a:p>
        </p:txBody>
      </p:sp>
      <p:sp>
        <p:nvSpPr>
          <p:cNvPr id="6" name="TextBox 5"/>
          <p:cNvSpPr txBox="1"/>
          <p:nvPr/>
        </p:nvSpPr>
        <p:spPr>
          <a:xfrm>
            <a:off x="423353" y="3679033"/>
            <a:ext cx="3926938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Do now:</a:t>
            </a:r>
          </a:p>
          <a:p>
            <a:r>
              <a:rPr lang="en-US" sz="3200" b="1" dirty="0" smtClean="0">
                <a:solidFill>
                  <a:srgbClr val="FF0000"/>
                </a:solidFill>
              </a:rPr>
              <a:t>What strategies are appropriate for each stage?</a:t>
            </a:r>
            <a:endParaRPr lang="en-US" sz="3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97045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oZe4BNEmf7HM_S2qg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rNULPXY0e7bSyfiTARuA"/>
</p:tagLst>
</file>

<file path=ppt/theme/theme1.xml><?xml version="1.0" encoding="utf-8"?>
<a:theme xmlns:a="http://schemas.openxmlformats.org/drawingml/2006/main" name="General-IB-Presentation">
  <a:themeElements>
    <a:clrScheme name="01 BoozTemplate - BASIC TEMPLATE 1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A5CCED"/>
      </a:accent1>
      <a:accent2>
        <a:srgbClr val="76B2E4"/>
      </a:accent2>
      <a:accent3>
        <a:srgbClr val="FFFFFF"/>
      </a:accent3>
      <a:accent4>
        <a:srgbClr val="000000"/>
      </a:accent4>
      <a:accent5>
        <a:srgbClr val="CFE2F4"/>
      </a:accent5>
      <a:accent6>
        <a:srgbClr val="6AA1CF"/>
      </a:accent6>
      <a:hlink>
        <a:srgbClr val="4C9BDC"/>
      </a:hlink>
      <a:folHlink>
        <a:srgbClr val="066BB0"/>
      </a:folHlink>
    </a:clrScheme>
    <a:fontScheme name="01 BoozTemplate - BASIC TEMPLATE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01 BoozTemplate - BASIC TEMPLATE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YP-English</Template>
  <TotalTime>16807</TotalTime>
  <Pages>8</Pages>
  <Words>615</Words>
  <Application>Microsoft Macintosh PowerPoint</Application>
  <PresentationFormat>On-screen Show (4:3)</PresentationFormat>
  <Paragraphs>87</Paragraphs>
  <Slides>12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General-IB-Presentation</vt:lpstr>
      <vt:lpstr>PowerPoint Presentation</vt:lpstr>
      <vt:lpstr>Aims</vt:lpstr>
      <vt:lpstr>Essential understandings:</vt:lpstr>
      <vt:lpstr>Summative Assessment</vt:lpstr>
      <vt:lpstr>Questions worth asking</vt:lpstr>
      <vt:lpstr>Approaches to Learning</vt:lpstr>
      <vt:lpstr>Kolb and Fry</vt:lpstr>
      <vt:lpstr>PowerPoint Presentation</vt:lpstr>
      <vt:lpstr>PowerPoint Presentation</vt:lpstr>
      <vt:lpstr>Visible thinking routines</vt:lpstr>
      <vt:lpstr>Which routine is more appropriate for each stage?</vt:lpstr>
      <vt:lpstr>Language in Visible Thinking Routines</vt:lpstr>
    </vt:vector>
  </TitlesOfParts>
  <Company>Toshib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catherineja</dc:creator>
  <cp:lastModifiedBy>Rafael Angel</cp:lastModifiedBy>
  <cp:revision>337</cp:revision>
  <cp:lastPrinted>2008-04-28T11:46:04Z</cp:lastPrinted>
  <dcterms:created xsi:type="dcterms:W3CDTF">2012-08-17T14:06:30Z</dcterms:created>
  <dcterms:modified xsi:type="dcterms:W3CDTF">2016-04-07T13:28:24Z</dcterms:modified>
</cp:coreProperties>
</file>